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9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0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2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3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4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5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6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17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18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9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0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1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22.xml" ContentType="application/vnd.openxmlformats-officedocument.theme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23.xml" ContentType="application/vnd.openxmlformats-officedocument.theme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4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25.xml" ContentType="application/vnd.openxmlformats-officedocument.theme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26.xml" ContentType="application/vnd.openxmlformats-officedocument.theme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96" r:id="rId1"/>
    <p:sldMasterId id="2147484313" r:id="rId2"/>
    <p:sldMasterId id="2147484327" r:id="rId3"/>
    <p:sldMasterId id="2147484344" r:id="rId4"/>
    <p:sldMasterId id="2147484358" r:id="rId5"/>
    <p:sldMasterId id="2147484372" r:id="rId6"/>
    <p:sldMasterId id="2147484385" r:id="rId7"/>
    <p:sldMasterId id="2147484398" r:id="rId8"/>
    <p:sldMasterId id="2147484412" r:id="rId9"/>
    <p:sldMasterId id="2147484426" r:id="rId10"/>
    <p:sldMasterId id="2147484440" r:id="rId11"/>
    <p:sldMasterId id="2147484454" r:id="rId12"/>
    <p:sldMasterId id="2147484468" r:id="rId13"/>
    <p:sldMasterId id="2147484482" r:id="rId14"/>
    <p:sldMasterId id="2147484496" r:id="rId15"/>
    <p:sldMasterId id="2147484510" r:id="rId16"/>
    <p:sldMasterId id="2147484524" r:id="rId17"/>
    <p:sldMasterId id="2147484538" r:id="rId18"/>
    <p:sldMasterId id="2147484552" r:id="rId19"/>
    <p:sldMasterId id="2147484566" r:id="rId20"/>
    <p:sldMasterId id="2147484580" r:id="rId21"/>
    <p:sldMasterId id="2147484594" r:id="rId22"/>
    <p:sldMasterId id="2147484608" r:id="rId23"/>
    <p:sldMasterId id="2147484622" r:id="rId24"/>
    <p:sldMasterId id="2147484636" r:id="rId25"/>
    <p:sldMasterId id="2147484650" r:id="rId26"/>
    <p:sldMasterId id="2147484667" r:id="rId27"/>
  </p:sldMasterIdLst>
  <p:notesMasterIdLst>
    <p:notesMasterId r:id="rId44"/>
  </p:notesMasterIdLst>
  <p:handoutMasterIdLst>
    <p:handoutMasterId r:id="rId45"/>
  </p:handoutMasterIdLst>
  <p:sldIdLst>
    <p:sldId id="257" r:id="rId28"/>
    <p:sldId id="563" r:id="rId29"/>
    <p:sldId id="588" r:id="rId30"/>
    <p:sldId id="564" r:id="rId31"/>
    <p:sldId id="567" r:id="rId32"/>
    <p:sldId id="590" r:id="rId33"/>
    <p:sldId id="595" r:id="rId34"/>
    <p:sldId id="592" r:id="rId35"/>
    <p:sldId id="594" r:id="rId36"/>
    <p:sldId id="596" r:id="rId37"/>
    <p:sldId id="555" r:id="rId38"/>
    <p:sldId id="598" r:id="rId39"/>
    <p:sldId id="597" r:id="rId40"/>
    <p:sldId id="599" r:id="rId41"/>
    <p:sldId id="600" r:id="rId42"/>
    <p:sldId id="582" r:id="rId43"/>
  </p:sldIdLst>
  <p:sldSz cx="9144000" cy="6858000" type="screen4x3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imes New Roman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66"/>
    <a:srgbClr val="C0D3E9"/>
    <a:srgbClr val="800000"/>
    <a:srgbClr val="000099"/>
    <a:srgbClr val="008000"/>
    <a:srgbClr val="FFCC99"/>
    <a:srgbClr val="95376D"/>
    <a:srgbClr val="A32972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02" autoAdjust="0"/>
    <p:restoredTop sz="94844" autoAdjust="0"/>
  </p:normalViewPr>
  <p:slideViewPr>
    <p:cSldViewPr snapToGrid="0">
      <p:cViewPr varScale="1">
        <p:scale>
          <a:sx n="100" d="100"/>
          <a:sy n="100" d="100"/>
        </p:scale>
        <p:origin x="57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48"/>
    </p:cViewPr>
  </p:sorterViewPr>
  <p:notesViewPr>
    <p:cSldViewPr snapToGrid="0">
      <p:cViewPr varScale="1">
        <p:scale>
          <a:sx n="79" d="100"/>
          <a:sy n="79" d="100"/>
        </p:scale>
        <p:origin x="-2100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41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slide" Target="slides/slide16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8AE689-FB6B-4511-B442-4E71B4989926}" type="doc">
      <dgm:prSet loTypeId="urn:microsoft.com/office/officeart/2005/8/layout/radial1" loCatId="cycle" qsTypeId="urn:microsoft.com/office/officeart/2005/8/quickstyle/3d7" qsCatId="3D" csTypeId="urn:microsoft.com/office/officeart/2005/8/colors/accent2_4" csCatId="accent2" phldr="1"/>
      <dgm:spPr>
        <a:scene3d>
          <a:camera prst="perspectiveLeft" fov="600000" zoom="91000"/>
          <a:lightRig rig="threePt" dir="t">
            <a:rot lat="0" lon="0" rev="20640000"/>
          </a:lightRig>
        </a:scene3d>
      </dgm:spPr>
      <dgm:t>
        <a:bodyPr/>
        <a:lstStyle/>
        <a:p>
          <a:endParaRPr lang="ru-RU"/>
        </a:p>
      </dgm:t>
    </dgm:pt>
    <dgm:pt modelId="{D166CFBA-2563-4A11-851B-65A775016329}" type="pres">
      <dgm:prSet presAssocID="{198AE689-FB6B-4511-B442-4E71B4989926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49948099-815F-45E6-A5AE-A88F514B218A}" type="presOf" srcId="{198AE689-FB6B-4511-B442-4E71B4989926}" destId="{D166CFBA-2563-4A11-851B-65A775016329}" srcOrd="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4BFDEEC-0E06-4D26-90F3-B5956D73BC0C}" type="doc">
      <dgm:prSet loTypeId="urn:microsoft.com/office/officeart/2005/8/layout/hierarchy2" loCatId="hierarchy" qsTypeId="urn:microsoft.com/office/officeart/2005/8/quickstyle/3d7" qsCatId="3D" csTypeId="urn:microsoft.com/office/officeart/2005/8/colors/accent2_4" csCatId="accent2" phldr="1"/>
      <dgm:spPr/>
      <dgm:t>
        <a:bodyPr/>
        <a:lstStyle/>
        <a:p>
          <a:endParaRPr lang="ru-RU"/>
        </a:p>
      </dgm:t>
    </dgm:pt>
    <dgm:pt modelId="{7DA35760-AFD9-45A1-AA7A-64CB18A02E8D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bg1"/>
              </a:solidFill>
            </a:rPr>
            <a:t>АО «ИФТП»</a:t>
          </a:r>
          <a:endParaRPr lang="ru-RU" sz="2000" dirty="0">
            <a:solidFill>
              <a:schemeClr val="bg1"/>
            </a:solidFill>
          </a:endParaRPr>
        </a:p>
      </dgm:t>
    </dgm:pt>
    <dgm:pt modelId="{2290B861-EBA6-4E30-8080-5202B9C13586}" type="parTrans" cxnId="{4E28BDC8-04AE-452D-A54C-0FBA22D04C3E}">
      <dgm:prSet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5CB19813-8BB4-402A-8C2B-EB070C7791FD}" type="sibTrans" cxnId="{4E28BDC8-04AE-452D-A54C-0FBA22D04C3E}">
      <dgm:prSet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0640AAEC-B25E-471C-8A17-0906E420ABDC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bg1"/>
              </a:solidFill>
            </a:rPr>
            <a:t>Разработка</a:t>
          </a:r>
          <a:endParaRPr lang="ru-RU" sz="1400" dirty="0">
            <a:solidFill>
              <a:schemeClr val="bg1"/>
            </a:solidFill>
          </a:endParaRPr>
        </a:p>
      </dgm:t>
    </dgm:pt>
    <dgm:pt modelId="{BB90AECA-9F30-4804-B148-9E7F140B7E3B}" type="parTrans" cxnId="{15BEFB59-D350-481B-9FF8-3BDF108F74B6}">
      <dgm:prSet custT="1"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A426AA43-B679-45AE-85F5-AF060E6D39F7}" type="sibTrans" cxnId="{15BEFB59-D350-481B-9FF8-3BDF108F74B6}">
      <dgm:prSet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2327EBE0-90BF-42B8-B5D4-597E2339B5FD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bg1"/>
              </a:solidFill>
            </a:rPr>
            <a:t>Изготовление</a:t>
          </a:r>
          <a:endParaRPr lang="ru-RU" sz="1400" dirty="0">
            <a:solidFill>
              <a:schemeClr val="bg1"/>
            </a:solidFill>
          </a:endParaRPr>
        </a:p>
      </dgm:t>
    </dgm:pt>
    <dgm:pt modelId="{A5920199-ACA2-4AF2-8F6B-65E805ED6D78}" type="parTrans" cxnId="{D6D2C138-BAA0-4242-A55C-F32019DBE1A1}">
      <dgm:prSet custT="1"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7C804BFC-D1C2-4AED-80EC-AAB4D67A679F}" type="sibTrans" cxnId="{D6D2C138-BAA0-4242-A55C-F32019DBE1A1}">
      <dgm:prSet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25F345A1-C489-4C53-88EF-C298F56E4DB1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bg1"/>
              </a:solidFill>
            </a:rPr>
            <a:t>Сборка и испытание</a:t>
          </a:r>
          <a:endParaRPr lang="ru-RU" sz="1400" dirty="0">
            <a:solidFill>
              <a:schemeClr val="bg1"/>
            </a:solidFill>
          </a:endParaRPr>
        </a:p>
      </dgm:t>
    </dgm:pt>
    <dgm:pt modelId="{0CB1348A-A94D-4CD8-9902-5A8FA37D20DD}" type="parTrans" cxnId="{A329B193-B5EF-4C37-AE26-ABB3B40C605B}">
      <dgm:prSet custT="1"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C16DC332-7AAD-4424-8595-6BF4CF918C29}" type="sibTrans" cxnId="{A329B193-B5EF-4C37-AE26-ABB3B40C605B}">
      <dgm:prSet/>
      <dgm:spPr/>
      <dgm:t>
        <a:bodyPr/>
        <a:lstStyle/>
        <a:p>
          <a:endParaRPr lang="ru-RU" sz="1400">
            <a:solidFill>
              <a:schemeClr val="bg1"/>
            </a:solidFill>
          </a:endParaRPr>
        </a:p>
      </dgm:t>
    </dgm:pt>
    <dgm:pt modelId="{4EBDAAEC-8675-4A5A-9B75-0152976A1CAE}" type="pres">
      <dgm:prSet presAssocID="{34BFDEEC-0E06-4D26-90F3-B5956D73BC0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9D9AA19-45EC-463F-B497-51ED3C28C140}" type="pres">
      <dgm:prSet presAssocID="{7DA35760-AFD9-45A1-AA7A-64CB18A02E8D}" presName="root1" presStyleCnt="0"/>
      <dgm:spPr/>
    </dgm:pt>
    <dgm:pt modelId="{D5BEC749-CA2C-4F85-8A7E-DC20919743A9}" type="pres">
      <dgm:prSet presAssocID="{7DA35760-AFD9-45A1-AA7A-64CB18A02E8D}" presName="LevelOneTextNode" presStyleLbl="node0" presStyleIdx="0" presStyleCnt="1" custScaleX="56448" custScaleY="56448" custLinFactNeighborX="18975" custLinFactNeighborY="2905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71E6D86-59A8-476B-83E4-5A56A0212A75}" type="pres">
      <dgm:prSet presAssocID="{7DA35760-AFD9-45A1-AA7A-64CB18A02E8D}" presName="level2hierChild" presStyleCnt="0"/>
      <dgm:spPr/>
    </dgm:pt>
    <dgm:pt modelId="{6916E533-345B-41E9-9411-BABD1201F296}" type="pres">
      <dgm:prSet presAssocID="{BB90AECA-9F30-4804-B148-9E7F140B7E3B}" presName="conn2-1" presStyleLbl="parChTrans1D2" presStyleIdx="0" presStyleCnt="3"/>
      <dgm:spPr/>
      <dgm:t>
        <a:bodyPr/>
        <a:lstStyle/>
        <a:p>
          <a:endParaRPr lang="ru-RU"/>
        </a:p>
      </dgm:t>
    </dgm:pt>
    <dgm:pt modelId="{F925632B-F424-412D-9220-AEAF9508D9EB}" type="pres">
      <dgm:prSet presAssocID="{BB90AECA-9F30-4804-B148-9E7F140B7E3B}" presName="connTx" presStyleLbl="parChTrans1D2" presStyleIdx="0" presStyleCnt="3"/>
      <dgm:spPr/>
      <dgm:t>
        <a:bodyPr/>
        <a:lstStyle/>
        <a:p>
          <a:endParaRPr lang="ru-RU"/>
        </a:p>
      </dgm:t>
    </dgm:pt>
    <dgm:pt modelId="{5458940A-6807-4976-AC8B-6D957709DCB2}" type="pres">
      <dgm:prSet presAssocID="{0640AAEC-B25E-471C-8A17-0906E420ABDC}" presName="root2" presStyleCnt="0"/>
      <dgm:spPr/>
    </dgm:pt>
    <dgm:pt modelId="{28233F6E-172B-4575-8487-5482C51A4AFE}" type="pres">
      <dgm:prSet presAssocID="{0640AAEC-B25E-471C-8A17-0906E420ABDC}" presName="LevelTwoTextNode" presStyleLbl="node2" presStyleIdx="0" presStyleCnt="3" custScaleX="38555" custScaleY="38555" custLinFactNeighborX="-38987" custLinFactNeighborY="-2103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C3F64D0-8155-4CB8-9951-C8DE8C4604D2}" type="pres">
      <dgm:prSet presAssocID="{0640AAEC-B25E-471C-8A17-0906E420ABDC}" presName="level3hierChild" presStyleCnt="0"/>
      <dgm:spPr/>
    </dgm:pt>
    <dgm:pt modelId="{BF55613A-44C1-4AC4-B3E3-12207D06DA51}" type="pres">
      <dgm:prSet presAssocID="{A5920199-ACA2-4AF2-8F6B-65E805ED6D78}" presName="conn2-1" presStyleLbl="parChTrans1D2" presStyleIdx="1" presStyleCnt="3"/>
      <dgm:spPr/>
      <dgm:t>
        <a:bodyPr/>
        <a:lstStyle/>
        <a:p>
          <a:endParaRPr lang="ru-RU"/>
        </a:p>
      </dgm:t>
    </dgm:pt>
    <dgm:pt modelId="{46E5C3AE-F9B5-45A0-8E6E-EA7E15E986DF}" type="pres">
      <dgm:prSet presAssocID="{A5920199-ACA2-4AF2-8F6B-65E805ED6D78}" presName="connTx" presStyleLbl="parChTrans1D2" presStyleIdx="1" presStyleCnt="3"/>
      <dgm:spPr/>
      <dgm:t>
        <a:bodyPr/>
        <a:lstStyle/>
        <a:p>
          <a:endParaRPr lang="ru-RU"/>
        </a:p>
      </dgm:t>
    </dgm:pt>
    <dgm:pt modelId="{F38A8A33-8ADE-48FF-8D57-85AAADC37618}" type="pres">
      <dgm:prSet presAssocID="{2327EBE0-90BF-42B8-B5D4-597E2339B5FD}" presName="root2" presStyleCnt="0"/>
      <dgm:spPr/>
    </dgm:pt>
    <dgm:pt modelId="{1AAB5840-A175-4D1F-82DC-12249C4AEEBF}" type="pres">
      <dgm:prSet presAssocID="{2327EBE0-90BF-42B8-B5D4-597E2339B5FD}" presName="LevelTwoTextNode" presStyleLbl="node2" presStyleIdx="1" presStyleCnt="3" custScaleX="38555" custScaleY="38555" custLinFactNeighborX="-5667" custLinFactNeighborY="-1966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1C2C275-1463-456E-BDD1-0BB9AF6C66DA}" type="pres">
      <dgm:prSet presAssocID="{2327EBE0-90BF-42B8-B5D4-597E2339B5FD}" presName="level3hierChild" presStyleCnt="0"/>
      <dgm:spPr/>
    </dgm:pt>
    <dgm:pt modelId="{AB68ABFF-13B6-41C2-B6A1-7CFE077B1403}" type="pres">
      <dgm:prSet presAssocID="{0CB1348A-A94D-4CD8-9902-5A8FA37D20DD}" presName="conn2-1" presStyleLbl="parChTrans1D2" presStyleIdx="2" presStyleCnt="3"/>
      <dgm:spPr/>
      <dgm:t>
        <a:bodyPr/>
        <a:lstStyle/>
        <a:p>
          <a:endParaRPr lang="ru-RU"/>
        </a:p>
      </dgm:t>
    </dgm:pt>
    <dgm:pt modelId="{38F2403C-A281-4264-8DAA-D72984487DB7}" type="pres">
      <dgm:prSet presAssocID="{0CB1348A-A94D-4CD8-9902-5A8FA37D20DD}" presName="connTx" presStyleLbl="parChTrans1D2" presStyleIdx="2" presStyleCnt="3"/>
      <dgm:spPr/>
      <dgm:t>
        <a:bodyPr/>
        <a:lstStyle/>
        <a:p>
          <a:endParaRPr lang="ru-RU"/>
        </a:p>
      </dgm:t>
    </dgm:pt>
    <dgm:pt modelId="{39610D98-6E77-4340-AD1C-565B1D62EF56}" type="pres">
      <dgm:prSet presAssocID="{25F345A1-C489-4C53-88EF-C298F56E4DB1}" presName="root2" presStyleCnt="0"/>
      <dgm:spPr/>
    </dgm:pt>
    <dgm:pt modelId="{13F4B0E0-873C-490F-9A8C-DCF08440ADC3}" type="pres">
      <dgm:prSet presAssocID="{25F345A1-C489-4C53-88EF-C298F56E4DB1}" presName="LevelTwoTextNode" presStyleLbl="node2" presStyleIdx="2" presStyleCnt="3" custScaleX="38555" custScaleY="38555" custLinFactNeighborX="-1224" custLinFactNeighborY="-1618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B04EC0C-9508-4D34-9DF4-C0D40DADFCA5}" type="pres">
      <dgm:prSet presAssocID="{25F345A1-C489-4C53-88EF-C298F56E4DB1}" presName="level3hierChild" presStyleCnt="0"/>
      <dgm:spPr/>
    </dgm:pt>
  </dgm:ptLst>
  <dgm:cxnLst>
    <dgm:cxn modelId="{C3ED536D-0F05-442A-9C62-F0B6E246DEB9}" type="presOf" srcId="{7DA35760-AFD9-45A1-AA7A-64CB18A02E8D}" destId="{D5BEC749-CA2C-4F85-8A7E-DC20919743A9}" srcOrd="0" destOrd="0" presId="urn:microsoft.com/office/officeart/2005/8/layout/hierarchy2"/>
    <dgm:cxn modelId="{1E34AE5D-9C75-429E-A114-A0CCD56732AE}" type="presOf" srcId="{34BFDEEC-0E06-4D26-90F3-B5956D73BC0C}" destId="{4EBDAAEC-8675-4A5A-9B75-0152976A1CAE}" srcOrd="0" destOrd="0" presId="urn:microsoft.com/office/officeart/2005/8/layout/hierarchy2"/>
    <dgm:cxn modelId="{F3AF5ED4-A5EE-4DF9-9661-C6CB9141DCD1}" type="presOf" srcId="{BB90AECA-9F30-4804-B148-9E7F140B7E3B}" destId="{6916E533-345B-41E9-9411-BABD1201F296}" srcOrd="0" destOrd="0" presId="urn:microsoft.com/office/officeart/2005/8/layout/hierarchy2"/>
    <dgm:cxn modelId="{A7386776-47A3-4B87-97C6-718C05B11FEA}" type="presOf" srcId="{A5920199-ACA2-4AF2-8F6B-65E805ED6D78}" destId="{BF55613A-44C1-4AC4-B3E3-12207D06DA51}" srcOrd="0" destOrd="0" presId="urn:microsoft.com/office/officeart/2005/8/layout/hierarchy2"/>
    <dgm:cxn modelId="{94A313A7-F04E-4E56-BD9A-A48DECB25AA0}" type="presOf" srcId="{0640AAEC-B25E-471C-8A17-0906E420ABDC}" destId="{28233F6E-172B-4575-8487-5482C51A4AFE}" srcOrd="0" destOrd="0" presId="urn:microsoft.com/office/officeart/2005/8/layout/hierarchy2"/>
    <dgm:cxn modelId="{A329B193-B5EF-4C37-AE26-ABB3B40C605B}" srcId="{7DA35760-AFD9-45A1-AA7A-64CB18A02E8D}" destId="{25F345A1-C489-4C53-88EF-C298F56E4DB1}" srcOrd="2" destOrd="0" parTransId="{0CB1348A-A94D-4CD8-9902-5A8FA37D20DD}" sibTransId="{C16DC332-7AAD-4424-8595-6BF4CF918C29}"/>
    <dgm:cxn modelId="{15BEFB59-D350-481B-9FF8-3BDF108F74B6}" srcId="{7DA35760-AFD9-45A1-AA7A-64CB18A02E8D}" destId="{0640AAEC-B25E-471C-8A17-0906E420ABDC}" srcOrd="0" destOrd="0" parTransId="{BB90AECA-9F30-4804-B148-9E7F140B7E3B}" sibTransId="{A426AA43-B679-45AE-85F5-AF060E6D39F7}"/>
    <dgm:cxn modelId="{DEEBC305-EED2-4ABE-91C1-A6D2B6B2A459}" type="presOf" srcId="{25F345A1-C489-4C53-88EF-C298F56E4DB1}" destId="{13F4B0E0-873C-490F-9A8C-DCF08440ADC3}" srcOrd="0" destOrd="0" presId="urn:microsoft.com/office/officeart/2005/8/layout/hierarchy2"/>
    <dgm:cxn modelId="{C7AFA6BF-1F6C-4C01-ABB9-CD56FF736268}" type="presOf" srcId="{BB90AECA-9F30-4804-B148-9E7F140B7E3B}" destId="{F925632B-F424-412D-9220-AEAF9508D9EB}" srcOrd="1" destOrd="0" presId="urn:microsoft.com/office/officeart/2005/8/layout/hierarchy2"/>
    <dgm:cxn modelId="{D6D2C138-BAA0-4242-A55C-F32019DBE1A1}" srcId="{7DA35760-AFD9-45A1-AA7A-64CB18A02E8D}" destId="{2327EBE0-90BF-42B8-B5D4-597E2339B5FD}" srcOrd="1" destOrd="0" parTransId="{A5920199-ACA2-4AF2-8F6B-65E805ED6D78}" sibTransId="{7C804BFC-D1C2-4AED-80EC-AAB4D67A679F}"/>
    <dgm:cxn modelId="{268B9893-C490-4ED7-A3F2-940EC96E5D53}" type="presOf" srcId="{2327EBE0-90BF-42B8-B5D4-597E2339B5FD}" destId="{1AAB5840-A175-4D1F-82DC-12249C4AEEBF}" srcOrd="0" destOrd="0" presId="urn:microsoft.com/office/officeart/2005/8/layout/hierarchy2"/>
    <dgm:cxn modelId="{EC655CDC-84DA-4F8A-A931-4B9E439BCE1B}" type="presOf" srcId="{A5920199-ACA2-4AF2-8F6B-65E805ED6D78}" destId="{46E5C3AE-F9B5-45A0-8E6E-EA7E15E986DF}" srcOrd="1" destOrd="0" presId="urn:microsoft.com/office/officeart/2005/8/layout/hierarchy2"/>
    <dgm:cxn modelId="{CF3F29FD-FC20-4D0B-B711-2FA0B1E50E4B}" type="presOf" srcId="{0CB1348A-A94D-4CD8-9902-5A8FA37D20DD}" destId="{38F2403C-A281-4264-8DAA-D72984487DB7}" srcOrd="1" destOrd="0" presId="urn:microsoft.com/office/officeart/2005/8/layout/hierarchy2"/>
    <dgm:cxn modelId="{4E1DB92E-96D4-405D-A95B-88611D962A0C}" type="presOf" srcId="{0CB1348A-A94D-4CD8-9902-5A8FA37D20DD}" destId="{AB68ABFF-13B6-41C2-B6A1-7CFE077B1403}" srcOrd="0" destOrd="0" presId="urn:microsoft.com/office/officeart/2005/8/layout/hierarchy2"/>
    <dgm:cxn modelId="{4E28BDC8-04AE-452D-A54C-0FBA22D04C3E}" srcId="{34BFDEEC-0E06-4D26-90F3-B5956D73BC0C}" destId="{7DA35760-AFD9-45A1-AA7A-64CB18A02E8D}" srcOrd="0" destOrd="0" parTransId="{2290B861-EBA6-4E30-8080-5202B9C13586}" sibTransId="{5CB19813-8BB4-402A-8C2B-EB070C7791FD}"/>
    <dgm:cxn modelId="{EB640718-4F5C-4988-B241-3E47BC34A6DE}" type="presParOf" srcId="{4EBDAAEC-8675-4A5A-9B75-0152976A1CAE}" destId="{D9D9AA19-45EC-463F-B497-51ED3C28C140}" srcOrd="0" destOrd="0" presId="urn:microsoft.com/office/officeart/2005/8/layout/hierarchy2"/>
    <dgm:cxn modelId="{67066C8A-8BA9-44F7-9FD4-2DF9B1F9349F}" type="presParOf" srcId="{D9D9AA19-45EC-463F-B497-51ED3C28C140}" destId="{D5BEC749-CA2C-4F85-8A7E-DC20919743A9}" srcOrd="0" destOrd="0" presId="urn:microsoft.com/office/officeart/2005/8/layout/hierarchy2"/>
    <dgm:cxn modelId="{314616F9-0B3D-4FA2-8651-01B86EB2F9F8}" type="presParOf" srcId="{D9D9AA19-45EC-463F-B497-51ED3C28C140}" destId="{571E6D86-59A8-476B-83E4-5A56A0212A75}" srcOrd="1" destOrd="0" presId="urn:microsoft.com/office/officeart/2005/8/layout/hierarchy2"/>
    <dgm:cxn modelId="{A7CCDF91-A277-485E-9711-4D8B99CB8D0F}" type="presParOf" srcId="{571E6D86-59A8-476B-83E4-5A56A0212A75}" destId="{6916E533-345B-41E9-9411-BABD1201F296}" srcOrd="0" destOrd="0" presId="urn:microsoft.com/office/officeart/2005/8/layout/hierarchy2"/>
    <dgm:cxn modelId="{AE26BFEF-07DD-40E7-9045-15143829D2E5}" type="presParOf" srcId="{6916E533-345B-41E9-9411-BABD1201F296}" destId="{F925632B-F424-412D-9220-AEAF9508D9EB}" srcOrd="0" destOrd="0" presId="urn:microsoft.com/office/officeart/2005/8/layout/hierarchy2"/>
    <dgm:cxn modelId="{71F86C1E-7884-4FC3-AE8A-ED778AE29C82}" type="presParOf" srcId="{571E6D86-59A8-476B-83E4-5A56A0212A75}" destId="{5458940A-6807-4976-AC8B-6D957709DCB2}" srcOrd="1" destOrd="0" presId="urn:microsoft.com/office/officeart/2005/8/layout/hierarchy2"/>
    <dgm:cxn modelId="{63B0B5F8-BD0D-4B82-A57A-680BFA2522E9}" type="presParOf" srcId="{5458940A-6807-4976-AC8B-6D957709DCB2}" destId="{28233F6E-172B-4575-8487-5482C51A4AFE}" srcOrd="0" destOrd="0" presId="urn:microsoft.com/office/officeart/2005/8/layout/hierarchy2"/>
    <dgm:cxn modelId="{90F88670-3807-4D20-B8F8-3F011033F1A9}" type="presParOf" srcId="{5458940A-6807-4976-AC8B-6D957709DCB2}" destId="{0C3F64D0-8155-4CB8-9951-C8DE8C4604D2}" srcOrd="1" destOrd="0" presId="urn:microsoft.com/office/officeart/2005/8/layout/hierarchy2"/>
    <dgm:cxn modelId="{1E375A65-5487-4C4B-99F7-6632F618BC8B}" type="presParOf" srcId="{571E6D86-59A8-476B-83E4-5A56A0212A75}" destId="{BF55613A-44C1-4AC4-B3E3-12207D06DA51}" srcOrd="2" destOrd="0" presId="urn:microsoft.com/office/officeart/2005/8/layout/hierarchy2"/>
    <dgm:cxn modelId="{D32991F3-1D74-4822-9308-5AA2AAB42F9D}" type="presParOf" srcId="{BF55613A-44C1-4AC4-B3E3-12207D06DA51}" destId="{46E5C3AE-F9B5-45A0-8E6E-EA7E15E986DF}" srcOrd="0" destOrd="0" presId="urn:microsoft.com/office/officeart/2005/8/layout/hierarchy2"/>
    <dgm:cxn modelId="{27060BD9-2723-4856-AF99-A73B60E8625E}" type="presParOf" srcId="{571E6D86-59A8-476B-83E4-5A56A0212A75}" destId="{F38A8A33-8ADE-48FF-8D57-85AAADC37618}" srcOrd="3" destOrd="0" presId="urn:microsoft.com/office/officeart/2005/8/layout/hierarchy2"/>
    <dgm:cxn modelId="{F523BD27-F17A-498B-A34E-51D6E1F28E8B}" type="presParOf" srcId="{F38A8A33-8ADE-48FF-8D57-85AAADC37618}" destId="{1AAB5840-A175-4D1F-82DC-12249C4AEEBF}" srcOrd="0" destOrd="0" presId="urn:microsoft.com/office/officeart/2005/8/layout/hierarchy2"/>
    <dgm:cxn modelId="{7F45336B-FAC0-47D2-9100-8F7112FFD3B5}" type="presParOf" srcId="{F38A8A33-8ADE-48FF-8D57-85AAADC37618}" destId="{11C2C275-1463-456E-BDD1-0BB9AF6C66DA}" srcOrd="1" destOrd="0" presId="urn:microsoft.com/office/officeart/2005/8/layout/hierarchy2"/>
    <dgm:cxn modelId="{7CB8AA2B-28DE-416D-AA5A-CBAB945C90AD}" type="presParOf" srcId="{571E6D86-59A8-476B-83E4-5A56A0212A75}" destId="{AB68ABFF-13B6-41C2-B6A1-7CFE077B1403}" srcOrd="4" destOrd="0" presId="urn:microsoft.com/office/officeart/2005/8/layout/hierarchy2"/>
    <dgm:cxn modelId="{02481730-0AAC-4089-9BB9-FC47992F24C4}" type="presParOf" srcId="{AB68ABFF-13B6-41C2-B6A1-7CFE077B1403}" destId="{38F2403C-A281-4264-8DAA-D72984487DB7}" srcOrd="0" destOrd="0" presId="urn:microsoft.com/office/officeart/2005/8/layout/hierarchy2"/>
    <dgm:cxn modelId="{7D492B8B-0F98-4806-B09F-8B6C5C480B7B}" type="presParOf" srcId="{571E6D86-59A8-476B-83E4-5A56A0212A75}" destId="{39610D98-6E77-4340-AD1C-565B1D62EF56}" srcOrd="5" destOrd="0" presId="urn:microsoft.com/office/officeart/2005/8/layout/hierarchy2"/>
    <dgm:cxn modelId="{C62FCDFB-1AC7-4BEB-9846-4C826003FA30}" type="presParOf" srcId="{39610D98-6E77-4340-AD1C-565B1D62EF56}" destId="{13F4B0E0-873C-490F-9A8C-DCF08440ADC3}" srcOrd="0" destOrd="0" presId="urn:microsoft.com/office/officeart/2005/8/layout/hierarchy2"/>
    <dgm:cxn modelId="{FB677CFC-BBEF-4CA4-86C5-DFAAD5B40352}" type="presParOf" srcId="{39610D98-6E77-4340-AD1C-565B1D62EF56}" destId="{DB04EC0C-9508-4D34-9DF4-C0D40DADFCA5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BEC749-CA2C-4F85-8A7E-DC20919743A9}">
      <dsp:nvSpPr>
        <dsp:cNvPr id="0" name=""/>
        <dsp:cNvSpPr/>
      </dsp:nvSpPr>
      <dsp:spPr>
        <a:xfrm>
          <a:off x="769538" y="2017637"/>
          <a:ext cx="2285311" cy="1142655"/>
        </a:xfrm>
        <a:prstGeom prst="roundRect">
          <a:avLst>
            <a:gd name="adj" fmla="val 10000"/>
          </a:avLst>
        </a:prstGeom>
        <a:solidFill>
          <a:schemeClr val="accent2">
            <a:shade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bg1"/>
              </a:solidFill>
            </a:rPr>
            <a:t>АО «ИФТП»</a:t>
          </a:r>
          <a:endParaRPr lang="ru-RU" sz="2000" kern="1200" dirty="0">
            <a:solidFill>
              <a:schemeClr val="bg1"/>
            </a:solidFill>
          </a:endParaRPr>
        </a:p>
      </dsp:txBody>
      <dsp:txXfrm>
        <a:off x="803005" y="2051104"/>
        <a:ext cx="2218377" cy="1075721"/>
      </dsp:txXfrm>
    </dsp:sp>
    <dsp:sp modelId="{6916E533-345B-41E9-9411-BABD1201F296}">
      <dsp:nvSpPr>
        <dsp:cNvPr id="0" name=""/>
        <dsp:cNvSpPr/>
      </dsp:nvSpPr>
      <dsp:spPr>
        <a:xfrm rot="15053012">
          <a:off x="1580993" y="1494404"/>
          <a:ext cx="2220517" cy="91054"/>
        </a:xfrm>
        <a:custGeom>
          <a:avLst/>
          <a:gdLst/>
          <a:ahLst/>
          <a:cxnLst/>
          <a:rect l="0" t="0" r="0" b="0"/>
          <a:pathLst>
            <a:path>
              <a:moveTo>
                <a:pt x="0" y="45527"/>
              </a:moveTo>
              <a:lnTo>
                <a:pt x="2220517" y="4552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>
            <a:solidFill>
              <a:schemeClr val="bg1"/>
            </a:solidFill>
          </a:endParaRPr>
        </a:p>
      </dsp:txBody>
      <dsp:txXfrm rot="10800000">
        <a:off x="2635739" y="1484418"/>
        <a:ext cx="111025" cy="111025"/>
      </dsp:txXfrm>
    </dsp:sp>
    <dsp:sp modelId="{28233F6E-172B-4575-8487-5482C51A4AFE}">
      <dsp:nvSpPr>
        <dsp:cNvPr id="0" name=""/>
        <dsp:cNvSpPr/>
      </dsp:nvSpPr>
      <dsp:spPr>
        <a:xfrm>
          <a:off x="2327654" y="100670"/>
          <a:ext cx="1560908" cy="780454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</a:rPr>
            <a:t>Разработка</a:t>
          </a:r>
          <a:endParaRPr lang="ru-RU" sz="1400" kern="1200" dirty="0">
            <a:solidFill>
              <a:schemeClr val="bg1"/>
            </a:solidFill>
          </a:endParaRPr>
        </a:p>
      </dsp:txBody>
      <dsp:txXfrm>
        <a:off x="2350513" y="123529"/>
        <a:ext cx="1515190" cy="734736"/>
      </dsp:txXfrm>
    </dsp:sp>
    <dsp:sp modelId="{BF55613A-44C1-4AC4-B3E3-12207D06DA51}">
      <dsp:nvSpPr>
        <dsp:cNvPr id="0" name=""/>
        <dsp:cNvSpPr/>
      </dsp:nvSpPr>
      <dsp:spPr>
        <a:xfrm rot="18133723">
          <a:off x="2782788" y="2050307"/>
          <a:ext cx="1165895" cy="91054"/>
        </a:xfrm>
        <a:custGeom>
          <a:avLst/>
          <a:gdLst/>
          <a:ahLst/>
          <a:cxnLst/>
          <a:rect l="0" t="0" r="0" b="0"/>
          <a:pathLst>
            <a:path>
              <a:moveTo>
                <a:pt x="0" y="45527"/>
              </a:moveTo>
              <a:lnTo>
                <a:pt x="1165895" y="4552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>
            <a:solidFill>
              <a:schemeClr val="bg1"/>
            </a:solidFill>
          </a:endParaRPr>
        </a:p>
      </dsp:txBody>
      <dsp:txXfrm>
        <a:off x="3336589" y="2066686"/>
        <a:ext cx="58294" cy="58294"/>
      </dsp:txXfrm>
    </dsp:sp>
    <dsp:sp modelId="{1AAB5840-A175-4D1F-82DC-12249C4AEEBF}">
      <dsp:nvSpPr>
        <dsp:cNvPr id="0" name=""/>
        <dsp:cNvSpPr/>
      </dsp:nvSpPr>
      <dsp:spPr>
        <a:xfrm>
          <a:off x="3676622" y="1212476"/>
          <a:ext cx="1560908" cy="780454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</a:rPr>
            <a:t>Изготовление</a:t>
          </a:r>
          <a:endParaRPr lang="ru-RU" sz="1400" kern="1200" dirty="0">
            <a:solidFill>
              <a:schemeClr val="bg1"/>
            </a:solidFill>
          </a:endParaRPr>
        </a:p>
      </dsp:txBody>
      <dsp:txXfrm>
        <a:off x="3699481" y="1235335"/>
        <a:ext cx="1515190" cy="734736"/>
      </dsp:txXfrm>
    </dsp:sp>
    <dsp:sp modelId="{AB68ABFF-13B6-41C2-B6A1-7CFE077B1403}">
      <dsp:nvSpPr>
        <dsp:cNvPr id="0" name=""/>
        <dsp:cNvSpPr/>
      </dsp:nvSpPr>
      <dsp:spPr>
        <a:xfrm rot="711219">
          <a:off x="3046116" y="2627565"/>
          <a:ext cx="819115" cy="91054"/>
        </a:xfrm>
        <a:custGeom>
          <a:avLst/>
          <a:gdLst/>
          <a:ahLst/>
          <a:cxnLst/>
          <a:rect l="0" t="0" r="0" b="0"/>
          <a:pathLst>
            <a:path>
              <a:moveTo>
                <a:pt x="0" y="45527"/>
              </a:moveTo>
              <a:lnTo>
                <a:pt x="819115" y="45527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>
            <a:solidFill>
              <a:schemeClr val="bg1"/>
            </a:solidFill>
          </a:endParaRPr>
        </a:p>
      </dsp:txBody>
      <dsp:txXfrm>
        <a:off x="3435196" y="2652615"/>
        <a:ext cx="40955" cy="40955"/>
      </dsp:txXfrm>
    </dsp:sp>
    <dsp:sp modelId="{13F4B0E0-873C-490F-9A8C-DCF08440ADC3}">
      <dsp:nvSpPr>
        <dsp:cNvPr id="0" name=""/>
        <dsp:cNvSpPr/>
      </dsp:nvSpPr>
      <dsp:spPr>
        <a:xfrm>
          <a:off x="3856498" y="2366994"/>
          <a:ext cx="1560908" cy="780454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</a:rPr>
            <a:t>Сборка и испытание</a:t>
          </a:r>
          <a:endParaRPr lang="ru-RU" sz="1400" kern="1200" dirty="0">
            <a:solidFill>
              <a:schemeClr val="bg1"/>
            </a:solidFill>
          </a:endParaRPr>
        </a:p>
      </dsp:txBody>
      <dsp:txXfrm>
        <a:off x="3879357" y="2389853"/>
        <a:ext cx="1515190" cy="7347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x-none" altLang="x-none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F5BD6A9-A190-7D44-85E0-11775578C39E}" type="datetimeFigureOut">
              <a:rPr lang="ru-RU" altLang="x-none"/>
              <a:pPr/>
              <a:t>19.10.2022</a:t>
            </a:fld>
            <a:endParaRPr lang="ru-RU" altLang="x-none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x-none" altLang="x-none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738AB77-DD64-244B-BA23-B27A7A5FE132}" type="slidenum">
              <a:rPr lang="ru-RU" altLang="x-none"/>
              <a:pPr/>
              <a:t>‹#›</a:t>
            </a:fld>
            <a:endParaRPr lang="ru-RU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Arial" charset="0"/>
              </a:defRPr>
            </a:lvl1pPr>
          </a:lstStyle>
          <a:p>
            <a:endParaRPr lang="x-none" altLang="x-none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charset="0"/>
              </a:defRPr>
            </a:lvl1pPr>
          </a:lstStyle>
          <a:p>
            <a:endParaRPr lang="x-none" altLang="x-non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5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latin typeface="Arial" charset="0"/>
              </a:defRPr>
            </a:lvl1pPr>
          </a:lstStyle>
          <a:p>
            <a:endParaRPr lang="x-none" altLang="x-none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charset="0"/>
              </a:defRPr>
            </a:lvl1pPr>
          </a:lstStyle>
          <a:p>
            <a:fld id="{3F2708E8-7C9E-DE4B-AFB2-CF4CB94BE044}" type="slidenum">
              <a:rPr lang="ru-RU" altLang="x-none"/>
              <a:pPr/>
              <a:t>‹#›</a:t>
            </a:fld>
            <a:endParaRPr lang="ru-RU" alt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1266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x-none" altLang="x-none">
              <a:latin typeface="Arial" charset="0"/>
            </a:endParaRPr>
          </a:p>
        </p:txBody>
      </p:sp>
      <p:sp>
        <p:nvSpPr>
          <p:cNvPr id="1126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D8FB12A4-5C40-C444-80FF-C69DDC5E05A9}" type="slidenum">
              <a:rPr lang="ru-RU" altLang="x-none"/>
              <a:pPr>
                <a:spcBef>
                  <a:spcPct val="0"/>
                </a:spcBef>
              </a:pPr>
              <a:t>1</a:t>
            </a:fld>
            <a:endParaRPr lang="ru-RU" altLang="x-non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708E8-7C9E-DE4B-AFB2-CF4CB94BE044}" type="slidenum">
              <a:rPr lang="ru-RU" altLang="x-none" smtClean="0"/>
              <a:pPr/>
              <a:t>3</a:t>
            </a:fld>
            <a:endParaRPr lang="ru-RU" altLang="x-non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6354504"/>
      </p:ext>
    </p:extLst>
  </p:cSld>
  <p:clrMapOvr>
    <a:masterClrMapping/>
  </p:clrMapOvr>
  <p:transition spd="med">
    <p:cover dir="l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DBC514-084B-6548-88DA-D89E5098CC4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04741543"/>
      </p:ext>
    </p:extLst>
  </p:cSld>
  <p:clrMapOvr>
    <a:masterClrMapping/>
  </p:clrMapOvr>
  <p:transition spd="med">
    <p:cover dir="ld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371F96-6E89-7A4F-975B-4DAF6613AEA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43746428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B1F313-1A7E-D440-A1B4-0AFEE8AF589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28487943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EC60744-B109-4C4F-8746-B1C1FD09B4E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72282055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30473F-7297-D849-840F-B8FF437D8FD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26010096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0ED51E-8665-1F4B-8BF9-0A2E1E79D17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30672241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8CE9F7-D62D-7E49-A2CF-EAA22B95954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8144267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ADBD94-B24E-884B-A908-1D0AC3FCCAA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98429095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497605570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5549357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5233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0444B1-C269-2C4D-BB44-C9735B7F292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15289285"/>
      </p:ext>
    </p:extLst>
  </p:cSld>
  <p:clrMapOvr>
    <a:masterClrMapping/>
  </p:clrMapOvr>
  <p:transition spd="med">
    <p:cover dir="ld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9EAFB9-C460-D146-BFF8-4C7C6B75422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23483920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9EB6F1D-8DE3-AF4E-8923-0A1A5E670F0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8627814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08DEF9-351B-AC43-AB4A-EAB69F38823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30463971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1F46C3-CA99-EF4A-BD5D-AAC5B71E589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99831189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7F9890-A042-6647-AC02-CB7E97AE7FD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8783748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BBE61A-1F16-1545-A84A-BF73EE786E8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56273063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678F43-C0D3-B44F-86AC-94A623EB39F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1864182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80B4DC8-712E-B449-A2D4-B0E2AEA0779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704640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8487A9-2CCC-3943-A644-FE6C44A880B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54144968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7E68AE1-66C5-724C-A694-AE6161FE4F9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278627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764092239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98554811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008166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4948332"/>
      </p:ext>
    </p:extLst>
  </p:cSld>
  <p:clrMapOvr>
    <a:masterClrMapping/>
  </p:clrMapOvr>
  <p:transition spd="med">
    <p:cover dir="ld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92CFF7-5599-094D-89FA-5750DA841B1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45169470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741C3D-BC37-264A-A7F1-7CA41A7F0FE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3539119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ECFF00-CAC5-264F-81BA-ADB29958F6F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37837452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45686D-AEC4-054C-A7F9-6A9090B9AF7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83782385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DDCC36-9768-424A-B717-888591DC856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66920281"/>
      </p:ext>
    </p:extLst>
  </p:cSld>
  <p:clrMapOvr>
    <a:masterClrMapping/>
  </p:clrMapOvr>
  <p:transition spd="med">
    <p:cover dir="ld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B6B8E9-466D-654D-A40E-0B91A36EBD4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57457153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34A55D1-ADA2-1747-88DE-516F3E8710B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5870225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390303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920F576-7DDB-8A4C-80B6-C9544A15CC8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11704137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CF50F2-4658-D24F-9201-983B0A1485F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08587792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2791D0-B9E3-7A45-A594-6A1187F0605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4308366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814890461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607611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585253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B9C64F-7B3D-6543-97DF-B5F83328A30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13384496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9B3AF9-2181-4345-B677-5ABD474EAD1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6530604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5EF642B-3FD2-0544-828C-D9BDDC43CB3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10790009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F57CB0-2FDC-3540-954A-90F75B1BC66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8073473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76800" y="1600200"/>
            <a:ext cx="3810000" cy="21891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76800" y="3941763"/>
            <a:ext cx="3810000" cy="21891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12DA9BB2-9AFB-F94F-8537-A1A7961625A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26459734"/>
      </p:ext>
    </p:extLst>
  </p:cSld>
  <p:clrMapOvr>
    <a:masterClrMapping/>
  </p:clrMapOvr>
  <p:transition spd="med" advTm="7000">
    <p:cover dir="ld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A57C0E-2A4B-914C-ACCA-4BBF2C142F2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83624782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36E201-335D-3E42-839C-796ACC223A6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44199624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30D739-1B60-8943-98DD-0ACF3033A61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98016041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9FDEBE-2EDF-9045-B9C9-91D3774598F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2511170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38DE8D2-93D0-1E48-99E3-E310951B71C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6731094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4F96B5-634B-F54E-844E-D1D635B044D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4382801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724913510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466331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310197"/>
      </p:ext>
    </p:extLst>
  </p:cSld>
  <p:clrMapOvr>
    <a:masterClrMapping/>
  </p:clrMapOvr>
  <p:transition spd="med">
    <p:cover dir="ld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899276-0336-0A45-BB42-7165BB67493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165048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14400" y="277813"/>
            <a:ext cx="7772400" cy="585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D4A106AB-D2EC-0946-835C-905B92591C1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55819299"/>
      </p:ext>
    </p:extLst>
  </p:cSld>
  <p:clrMapOvr>
    <a:masterClrMapping/>
  </p:clrMapOvr>
  <p:transition spd="med" advTm="7000">
    <p:cover dir="ld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3A13AD-4E33-6E4E-B47C-A4AC0738096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13586720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FA9F8A-F552-DF4B-AFA3-60977BEDA37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3521604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7246D8-49A7-2F45-AD4E-9F27A96AF2C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61081336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488D2B-FEC5-7043-B7D5-EDADA4A9739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3890582"/>
      </p:ext>
    </p:extLst>
  </p:cSld>
  <p:clrMapOvr>
    <a:masterClrMapping/>
  </p:clrMapOvr>
  <p:transition spd="med">
    <p:cover dir="ld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03A025-8B48-814F-8630-ECB0E2E7A2A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61108221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C03C11-C118-F743-916C-B816F98B37A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46551792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99C3D3-F0D0-7649-8B13-B5196368F55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01388503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4AF42A-7654-A249-802C-2644089E092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79902561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3867E4C-30E5-0C4A-A51D-1F3A492C073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3536861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91750573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D400FD1B-4B74-F04A-A93E-FA29AD851EE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05979976"/>
      </p:ext>
    </p:extLst>
  </p:cSld>
  <p:clrMapOvr>
    <a:masterClrMapping/>
  </p:clrMapOvr>
  <p:transition spd="med" advTm="7000">
    <p:cover dir="ld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630268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7232937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1C7C03-3E40-B54E-8EA1-33B317BEAA7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82120753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6E2E66-9DF4-EF43-8EB5-AC69E9029EA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4489228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509CEB-84DE-5346-AF8D-52E0B596242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59001307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791061-EB6A-3C4D-A405-64D444F8071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82103569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781772-983F-1D44-92EC-199A6BFBE2E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58884052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0FB295-3B8C-7346-978E-7143D844139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62393142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408FA41-FA12-BB43-8C92-BFFFAA7F5B9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57610303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C7D62F-472E-0C43-BF68-398C5074340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2230874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605714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5DEB15-2AFC-E44D-942F-AC6409B8E79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94239228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AA2885-420B-C84E-9B69-118802FE4EA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16844533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096216903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5528110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32785"/>
      </p:ext>
    </p:extLst>
  </p:cSld>
  <p:clrMapOvr>
    <a:masterClrMapping/>
  </p:clrMapOvr>
  <p:transition spd="med">
    <p:cover dir="ld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4AAFC7-9567-AD47-8DD5-6783AD10A0F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01485997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D33D2F-C886-7944-8CB4-9FD7B12860D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81532705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522BEB-B4D6-2F44-A67C-26D14E4ECF0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4002993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22860B-907F-2245-B847-94456E4B00E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57653249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F70F29-2938-5940-8672-6A0BE17CC8A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14409617"/>
      </p:ext>
    </p:extLst>
  </p:cSld>
  <p:clrMapOvr>
    <a:masterClrMapping/>
  </p:clrMapOvr>
  <p:transition spd="med">
    <p:cover dir="l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0ADB1B4-DCBC-3D46-B837-CD2FB3C9B07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26231268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A7DB90-DD86-F44A-8459-DE6098DDDB1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51123591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016DFA-116A-1740-82E4-D28D6DA9826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33713715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92595D-45A7-794F-8DE5-D0C8DFC88EB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83703775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BD261A5-C190-9743-B6C8-937093203C4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83742530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26E255-B84E-A04D-B521-82A3029DDC6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60288347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623130113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6304135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716369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6A5053-C1D8-8D43-BF99-AF04A75E6BF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69150588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6869C1-C2B5-8C43-9087-FF2F523ABD8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2314420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D7D833-9809-B940-820D-5EF3748ABAF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32638352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F5C3523-CAB7-6749-9B72-83139D9D2D3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1709114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0F9969-F849-514D-BEF0-FEE28A4C9B8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94371520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D83D95-7519-524D-8E4A-FEFB7A91054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55694443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D85F22-BCC7-FB48-B5FA-0F99D849A62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3405675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BE0A46-3F89-3142-A9FD-0EFD9B7B19E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75078859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5AC13D-610D-1A43-91A2-05B41FB3764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7863488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50FD59D-30BB-8A40-8945-FD3DDDE16C6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17995816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F99C90-B62B-BC49-B16A-208369D6A53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49953152"/>
      </p:ext>
    </p:extLst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142814352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80053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810731-9099-394F-822E-35592ABCACA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5638215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595083-3815-F148-88BF-D73B224D6C1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54224345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887828"/>
      </p:ext>
    </p:extLst>
  </p:cSld>
  <p:clrMapOvr>
    <a:masterClrMapping/>
  </p:clrMapOvr>
  <p:transition spd="med">
    <p:cover dir="ld"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FD78391-E863-6E4C-BCB4-9E11B17D521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19136280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8F84EF-86C5-6A4D-B65D-E2B754878DD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98775621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39BBFA5-FD24-0C48-8072-8256225B81D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93187906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0C54A2-1D02-D24E-9AE5-BAE1EACE516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74628502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3E208B-F39C-8A43-90EA-2869E504A0A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1405820"/>
      </p:ext>
    </p:extLst>
  </p:cSld>
  <p:clrMapOvr>
    <a:masterClrMapping/>
  </p:clrMapOvr>
  <p:transition spd="med">
    <p:cover dir="ld"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31647D-81AE-B54E-A7E2-01DBEE8CFC3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36740422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CE32385-5255-5646-8A27-CF450426CE6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98542530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845F63-46F1-684E-B33B-D56145C5BE8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78991607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E053739-37E7-AD42-932C-BF5BC05C8F5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8872482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DD9E9B-0AD4-5840-BD4C-75088AA9594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16875509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7F357A-80DC-5643-A937-BEBFE53F150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32558395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569778248"/>
      </p:ext>
    </p:extLst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264107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372526"/>
      </p:ext>
    </p:extLst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8FD982-BFCA-3B49-B7A0-F24B5B8BA42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73084669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7EC156-7DB1-7B43-8CB2-9605EB66DCF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74761221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D0EDD1-F75E-154C-A85F-9A768D1D91B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30397141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8B35DD-C385-B243-9D1D-C91B6A9E7F5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47918136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AAF531-A04A-FC44-9FC9-C3049E3F56F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43211994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BE168A6-91EC-A54A-A3FA-179927162DE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9558149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5242C5-0A86-394D-83C5-387F9AF64A3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128001827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BCFC34-5DF7-D649-ABDE-885C03D6C0C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97978821"/>
      </p:ext>
    </p:extLst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D227F9B-BACD-F742-A377-6972486C9AC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07952009"/>
      </p:ext>
    </p:extLst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635DC78-9858-F646-9C33-8BB9DB405F0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2222837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931C64D-E65F-924B-971A-FBB19A9C218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04854927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835657798"/>
      </p:ext>
    </p:extLst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5053818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500900"/>
      </p:ext>
    </p:extLst>
  </p:cSld>
  <p:clrMapOvr>
    <a:masterClrMapping/>
  </p:clrMapOvr>
  <p:transition spd="med">
    <p:cover dir="ld"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37B562-517B-3B4D-9D38-EC230A3A0EA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27614007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BE75B2-E779-7F4C-B631-30FDB0902D9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70317007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FE5D9CD-261A-1942-B64C-0C186D15313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7811568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148402-EFBF-5149-8BA0-B900ED0625F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34049251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FBC5429-A05A-D746-B21E-96C92181C48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75741417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967555-A7EF-3E48-9FF3-9F964B28FF2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73450526"/>
      </p:ext>
    </p:extLst>
  </p:cSld>
  <p:clrMapOvr>
    <a:masterClrMapping/>
  </p:clrMapOvr>
  <p:transition spd="med">
    <p:cover dir="ld"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FD38BEF-81F9-764B-B2F5-3FE73E99C27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05753160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813B4F-1FCC-D148-AB7E-F21F17C56BD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57971427"/>
      </p:ext>
    </p:extLst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61A115-8239-784F-BF2D-AADA4CC98BE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32475186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141689-914A-F048-8736-94481191C89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62887741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202F90-B9BD-E848-924D-8F96D3919E5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0705507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708130359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855506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785060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0E4099-7D22-2049-B62E-231CA0B678B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48394432"/>
      </p:ext>
    </p:extLst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06AA-228C-AF4B-B49E-3D8A84900A2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81268879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6046E8-5A1E-754C-AE00-35822AE1E61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74542306"/>
      </p:ext>
    </p:extLst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AC353E5-06AD-4A4F-B634-19D11199CA2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66364429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BD2CE0-EFEA-E447-B855-A83ED8BCE15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19130300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1F30E6-EBA3-734D-B150-09577FA25B0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86362206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0CAD1C1-1995-5948-9E6B-2F6BB1832CB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63325049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68FE70-0C67-394D-A15D-9F555066F09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01068700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B235E18-C03F-A749-8085-C29FC3129E6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99940834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2E5172-B0DB-D449-9E69-E23B4BF34E1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46059263"/>
      </p:ext>
    </p:extLst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139787-8F76-1045-B769-F38C48CDB61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4208943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35C807-25CA-2140-AB71-C408CC1F26D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61894989"/>
      </p:ext>
    </p:extLst>
  </p:cSld>
  <p:clrMapOvr>
    <a:masterClrMapping/>
  </p:clrMapOvr>
  <p:transition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565459877"/>
      </p:ext>
    </p:extLst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6901476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947746"/>
      </p:ext>
    </p:extLst>
  </p:cSld>
  <p:clrMapOvr>
    <a:masterClrMapping/>
  </p:clrMapOvr>
  <p:transition spd="med">
    <p:cover dir="ld"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040365-DF89-FC43-809E-097FDD7DB04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78858697"/>
      </p:ext>
    </p:extLst>
  </p:cSld>
  <p:clrMapOvr>
    <a:masterClrMapping/>
  </p:clrMapOvr>
  <p:transition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B25091F-C6DD-A841-A667-19C7291662E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93993257"/>
      </p:ext>
    </p:extLst>
  </p:cSld>
  <p:clrMapOvr>
    <a:masterClrMapping/>
  </p:clrMapOvr>
  <p:transition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2B140F6-D8CD-4A48-BDD4-618905C6900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52586698"/>
      </p:ext>
    </p:extLst>
  </p:cSld>
  <p:clrMapOvr>
    <a:masterClrMapping/>
  </p:clrMapOvr>
  <p:transition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02C6FB-12F8-5D4E-8234-D2440BC6B89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22137346"/>
      </p:ext>
    </p:extLst>
  </p:cSld>
  <p:clrMapOvr>
    <a:masterClrMapping/>
  </p:clrMapOvr>
  <p:transition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FD1DE6-ECBB-BB42-B25C-6C4DC073368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8534330"/>
      </p:ext>
    </p:extLst>
  </p:cSld>
  <p:clrMapOvr>
    <a:masterClrMapping/>
  </p:clrMapOvr>
  <p:transition spd="med">
    <p:cover dir="ld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8D6426-5ADE-0E49-A18E-EED68638A85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28774314"/>
      </p:ext>
    </p:extLst>
  </p:cSld>
  <p:clrMapOvr>
    <a:masterClrMapping/>
  </p:clrMapOvr>
  <p:transition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AD7889-7332-344D-B7EA-78A285DA7F9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4424393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F912DF-47E1-484D-9117-DC7C7FC99C2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75087420"/>
      </p:ext>
    </p:extLst>
  </p:cSld>
  <p:clrMapOvr>
    <a:masterClrMapping/>
  </p:clrMapOvr>
  <p:transition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592009-8092-6E42-A19A-F8B1369A102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5233757"/>
      </p:ext>
    </p:extLst>
  </p:cSld>
  <p:clrMapOvr>
    <a:masterClrMapping/>
  </p:clrMapOvr>
  <p:transition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507E62-803D-4947-8BF3-1C2BF729003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86224930"/>
      </p:ext>
    </p:extLst>
  </p:cSld>
  <p:clrMapOvr>
    <a:masterClrMapping/>
  </p:clrMapOvr>
  <p:transition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6A7472-EF09-DB4A-A06B-694E06D608C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16893941"/>
      </p:ext>
    </p:extLst>
  </p:cSld>
  <p:clrMapOvr>
    <a:masterClrMapping/>
  </p:clrMapOvr>
  <p:transition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849696006"/>
      </p:ext>
    </p:extLst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6749887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7028607"/>
      </p:ext>
    </p:extLst>
  </p:cSld>
  <p:clrMapOvr>
    <a:masterClrMapping/>
  </p:clrMapOvr>
  <p:transition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AD5863-BBFF-6F4E-BC36-26F7B68370F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22868007"/>
      </p:ext>
    </p:extLst>
  </p:cSld>
  <p:clrMapOvr>
    <a:masterClrMapping/>
  </p:clrMapOvr>
  <p:transition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79D283-0CEB-E148-BF4F-D43AA145202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15695015"/>
      </p:ext>
    </p:extLst>
  </p:cSld>
  <p:clrMapOvr>
    <a:masterClrMapping/>
  </p:clrMapOvr>
  <p:transition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B58392-8AA2-274F-8DBE-7B3624828E0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35096391"/>
      </p:ext>
    </p:extLst>
  </p:cSld>
  <p:clrMapOvr>
    <a:masterClrMapping/>
  </p:clrMapOvr>
  <p:transition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229DDC6-59D4-0540-8BD1-5A593705B0D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59410392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95C2BC9-3299-EC42-87CD-448C7715E24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43046972"/>
      </p:ext>
    </p:extLst>
  </p:cSld>
  <p:clrMapOvr>
    <a:masterClrMapping/>
  </p:clrMapOvr>
  <p:transition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034F2F9-E377-334E-935E-E984902F80F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40334755"/>
      </p:ext>
    </p:extLst>
  </p:cSld>
  <p:clrMapOvr>
    <a:masterClrMapping/>
  </p:clrMapOvr>
  <p:transition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268FCD-07CC-F341-BB01-821FF0CE2AF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57275324"/>
      </p:ext>
    </p:extLst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6E505E-A43D-6C42-BF93-644534CFC59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34767635"/>
      </p:ext>
    </p:extLst>
  </p:cSld>
  <p:clrMapOvr>
    <a:masterClrMapping/>
  </p:clrMapOvr>
  <p:transition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185836-2838-444B-8E3B-D9201CA1167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42258571"/>
      </p:ext>
    </p:extLst>
  </p:cSld>
  <p:clrMapOvr>
    <a:masterClrMapping/>
  </p:clrMapOvr>
  <p:transition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6D99252-994C-5348-AFEC-80D707469E8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98900530"/>
      </p:ext>
    </p:extLst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26CA21-F0D5-2B48-A9D3-26B2409B51C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65354221"/>
      </p:ext>
    </p:extLst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238015976"/>
      </p:ext>
    </p:extLst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545284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802723"/>
      </p:ext>
    </p:extLst>
  </p:cSld>
  <p:clrMapOvr>
    <a:masterClrMapping/>
  </p:clrMapOvr>
  <p:transition spd="med">
    <p:cover dir="ld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59C4CA1-5F5D-FB4A-B1C7-DA9694E5CB2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1929162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556496961"/>
      </p:ext>
    </p:extLst>
  </p:cSld>
  <p:clrMapOvr>
    <a:masterClrMapping/>
  </p:clrMapOvr>
  <p:transition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86B19-5E89-A34A-B3D7-F77ACCFF8F8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37035278"/>
      </p:ext>
    </p:extLst>
  </p:cSld>
  <p:clrMapOvr>
    <a:masterClrMapping/>
  </p:clrMapOvr>
  <p:transition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4B8BB5E-A578-6B47-B914-F8B3D41355C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71127583"/>
      </p:ext>
    </p:extLst>
  </p:cSld>
  <p:clrMapOvr>
    <a:masterClrMapping/>
  </p:clrMapOvr>
  <p:transition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0CF5B7-E26F-4C46-8351-A97DABE532C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45265882"/>
      </p:ext>
    </p:extLst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BE1B1A-9FB3-C946-BAAD-08682851A5A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2949973"/>
      </p:ext>
    </p:extLst>
  </p:cSld>
  <p:clrMapOvr>
    <a:masterClrMapping/>
  </p:clrMapOvr>
  <p:transition spd="med">
    <p:cover dir="ld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A8033E-68DB-4F4E-9A27-459B74E3C2D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84240002"/>
      </p:ext>
    </p:extLst>
  </p:cSld>
  <p:clrMapOvr>
    <a:masterClrMapping/>
  </p:clrMapOvr>
  <p:transition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F6B660E-6895-5E4C-A50D-7C2EDD28092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5180773"/>
      </p:ext>
    </p:extLst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F453D9-2995-7149-82EE-25764C2B657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57799954"/>
      </p:ext>
    </p:extLst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F0A7EE6-59C3-8147-A0AF-A3B40203533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79083145"/>
      </p:ext>
    </p:extLst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1ECDAAF-1535-904D-8846-0FC82E2402F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35600834"/>
      </p:ext>
    </p:extLst>
  </p:cSld>
  <p:clrMapOvr>
    <a:masterClrMapping/>
  </p:clrMapOvr>
  <p:transition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75253543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5314084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2488786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230217"/>
      </p:ext>
    </p:extLst>
  </p:cSld>
  <p:clrMapOvr>
    <a:masterClrMapping/>
  </p:clrMapOvr>
  <p:transition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0C50B2-DB75-8040-AFB1-FEF1F6DDA27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04517421"/>
      </p:ext>
    </p:extLst>
  </p:cSld>
  <p:clrMapOvr>
    <a:masterClrMapping/>
  </p:clrMapOvr>
  <p:transition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500CA9-9589-4B4C-9B92-EDBC2EA4C7D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0840611"/>
      </p:ext>
    </p:extLst>
  </p:cSld>
  <p:clrMapOvr>
    <a:masterClrMapping/>
  </p:clrMapOvr>
  <p:transition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FDA684-CA2B-4E4F-93F7-A9E4938E357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31339640"/>
      </p:ext>
    </p:extLst>
  </p:cSld>
  <p:clrMapOvr>
    <a:masterClrMapping/>
  </p:clrMapOvr>
  <p:transition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40ED07A-A33A-8D44-ABDD-45D53D44D12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89700676"/>
      </p:ext>
    </p:extLst>
  </p:cSld>
  <p:clrMapOvr>
    <a:masterClrMapping/>
  </p:clrMapOvr>
  <p:transition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E6C5D0E-A307-3F42-991D-3A70A105E9A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55209205"/>
      </p:ext>
    </p:extLst>
  </p:cSld>
  <p:clrMapOvr>
    <a:masterClrMapping/>
  </p:clrMapOvr>
  <p:transition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5AFA86-2B7D-124F-8D08-EC97250D383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69243954"/>
      </p:ext>
    </p:extLst>
  </p:cSld>
  <p:clrMapOvr>
    <a:masterClrMapping/>
  </p:clrMapOvr>
  <p:transition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81E73C-C80D-0D4E-ABE7-A3840463EC6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36466071"/>
      </p:ext>
    </p:extLst>
  </p:cSld>
  <p:clrMapOvr>
    <a:masterClrMapping/>
  </p:clrMapOvr>
  <p:transition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F68D4A-C590-6C43-ABBE-BD20F74DD48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4539448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73CD25-E48F-9145-AF7C-04CD485F7D7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32887405"/>
      </p:ext>
    </p:extLst>
  </p:cSld>
  <p:clrMapOvr>
    <a:masterClrMapping/>
  </p:clrMapOvr>
  <p:transition spd="med">
    <p:cover dir="l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9516076"/>
      </p:ext>
    </p:extLst>
  </p:cSld>
  <p:clrMapOvr>
    <a:masterClrMapping/>
  </p:clrMapOvr>
  <p:transition spd="med">
    <p:cover dir="ld"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7EEF8ED-F0DB-A24F-A79F-88364CA0790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98102941"/>
      </p:ext>
    </p:extLst>
  </p:cSld>
  <p:clrMapOvr>
    <a:masterClrMapping/>
  </p:clrMapOvr>
  <p:transition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6EF916-10A8-AD4D-AE5A-F26FC3B3661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21362670"/>
      </p:ext>
    </p:extLst>
  </p:cSld>
  <p:clrMapOvr>
    <a:masterClrMapping/>
  </p:clrMapOvr>
  <p:transition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618912686"/>
      </p:ext>
    </p:extLst>
  </p:cSld>
  <p:clrMapOvr>
    <a:masterClrMapping/>
  </p:clrMapOvr>
  <p:transition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0221118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3961779"/>
      </p:ext>
    </p:extLst>
  </p:cSld>
  <p:clrMapOvr>
    <a:masterClrMapping/>
  </p:clrMapOvr>
  <p:transition spd="med">
    <p:cover dir="ld"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D5E81E4-B4E2-4D4D-BAA2-B5144F52842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07292885"/>
      </p:ext>
    </p:extLst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86D79A-8291-B542-A778-8ACC4994B43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8233293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0D873FD-8B82-6D49-BDFB-30864363943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74751533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D8CEAD-6710-BF4E-877B-F32FEFE8925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89250746"/>
      </p:ext>
    </p:extLst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0C052D8-FC58-E940-8293-C414EEE3EE66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25908618"/>
      </p:ext>
    </p:extLst>
  </p:cSld>
  <p:clrMapOvr>
    <a:masterClrMapping/>
  </p:clrMapOvr>
  <p:transition spd="med">
    <p:cover dir="l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E38122-8243-E24F-97F6-93BD2882375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10167098"/>
      </p:ext>
    </p:extLst>
  </p:cSld>
  <p:clrMapOvr>
    <a:masterClrMapping/>
  </p:clrMapOvr>
  <p:transition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BBED6D-2152-BF46-B2B4-CC4FE0368FD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81794861"/>
      </p:ext>
    </p:extLst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0C76FA-D20B-9D4D-94F4-DA8F3D0AF94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46467013"/>
      </p:ext>
    </p:extLst>
  </p:cSld>
  <p:clrMapOvr>
    <a:masterClrMapping/>
  </p:clrMapOvr>
  <p:transition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F2126E-51E8-D74A-9D8F-4F14F73E9C3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71621717"/>
      </p:ext>
    </p:extLst>
  </p:cSld>
  <p:clrMapOvr>
    <a:masterClrMapping/>
  </p:clrMapOvr>
  <p:transition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2EC8CA-2DFB-3847-B2A5-175839FDA5E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43447744"/>
      </p:ext>
    </p:extLst>
  </p:cSld>
  <p:clrMapOvr>
    <a:masterClrMapping/>
  </p:clrMapOvr>
  <p:transition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F34384E-AD99-7D4E-A5EA-0EC663BAAD9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59353740"/>
      </p:ext>
    </p:extLst>
  </p:cSld>
  <p:clrMapOvr>
    <a:masterClrMapping/>
  </p:clrMapOvr>
  <p:transition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123760683"/>
      </p:ext>
    </p:extLst>
  </p:cSld>
  <p:clrMapOvr>
    <a:masterClrMapping/>
  </p:clrMapOvr>
  <p:transition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2010239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0585113"/>
      </p:ext>
    </p:extLst>
  </p:cSld>
  <p:clrMapOvr>
    <a:masterClrMapping/>
  </p:clrMapOvr>
  <p:transition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FD9F87-457F-8440-A6D4-EEC8B76B9BE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83147275"/>
      </p:ext>
    </p:extLst>
  </p:cSld>
  <p:clrMapOvr>
    <a:masterClrMapping/>
  </p:clrMapOvr>
  <p:transition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C847DE-765F-0D4D-810F-26912BC53FA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0867406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513602-4F1E-F745-8363-D491D7F1775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69540388"/>
      </p:ext>
    </p:extLst>
  </p:cSld>
  <p:clrMapOvr>
    <a:masterClrMapping/>
  </p:clrMapOvr>
  <p:transition spd="med">
    <p:cover dir="ld"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0BEB5A6-C563-1B4D-806B-86F5D632427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37159868"/>
      </p:ext>
    </p:extLst>
  </p:cSld>
  <p:clrMapOvr>
    <a:masterClrMapping/>
  </p:clrMapOvr>
  <p:transition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E00A16-966C-DD4D-9D9E-241BB914035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88926823"/>
      </p:ext>
    </p:extLst>
  </p:cSld>
  <p:clrMapOvr>
    <a:masterClrMapping/>
  </p:clrMapOvr>
  <p:transition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F4F7FF-F107-0F4B-B4B6-86489BF8624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22056161"/>
      </p:ext>
    </p:extLst>
  </p:cSld>
  <p:clrMapOvr>
    <a:masterClrMapping/>
  </p:clrMapOvr>
  <p:transition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0D338A3-6D70-EF4E-AF2F-6361EEADFF9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60787308"/>
      </p:ext>
    </p:extLst>
  </p:cSld>
  <p:clrMapOvr>
    <a:masterClrMapping/>
  </p:clrMapOvr>
  <p:transition/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CFA89D-2665-6641-BBC1-202B18477AD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22743763"/>
      </p:ext>
    </p:extLst>
  </p:cSld>
  <p:clrMapOvr>
    <a:masterClrMapping/>
  </p:clrMapOvr>
  <p:transition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2615E20-A04F-9946-9D96-8D2D3CA80E6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95314153"/>
      </p:ext>
    </p:extLst>
  </p:cSld>
  <p:clrMapOvr>
    <a:masterClrMapping/>
  </p:clrMapOvr>
  <p:transition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4C68B2-2973-E04F-90CE-4C51F0C8C9B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06750543"/>
      </p:ext>
    </p:extLst>
  </p:cSld>
  <p:clrMapOvr>
    <a:masterClrMapping/>
  </p:clrMapOvr>
  <p:transition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0CE5F49-B2DF-3A43-9620-ADD560ADD85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12417089"/>
      </p:ext>
    </p:extLst>
  </p:cSld>
  <p:clrMapOvr>
    <a:masterClrMapping/>
  </p:clrMapOvr>
  <p:transition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07860734"/>
      </p:ext>
    </p:extLst>
  </p:cSld>
  <p:clrMapOvr>
    <a:masterClrMapping/>
  </p:clrMapOvr>
  <p:transition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27250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CE761C-4F98-854A-B184-A94F42739F0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47480125"/>
      </p:ext>
    </p:extLst>
  </p:cSld>
  <p:clrMapOvr>
    <a:masterClrMapping/>
  </p:clrMapOvr>
  <p:transition spd="med">
    <p:cover dir="ld"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0726"/>
      </p:ext>
    </p:extLst>
  </p:cSld>
  <p:clrMapOvr>
    <a:masterClrMapping/>
  </p:clrMapOvr>
  <p:transition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822B12-E2A5-E949-A86D-523AB0CD8FE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69172087"/>
      </p:ext>
    </p:extLst>
  </p:cSld>
  <p:clrMapOvr>
    <a:masterClrMapping/>
  </p:clrMapOvr>
  <p:transition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43814E8-D756-AA41-A9AA-D478A387BEF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16689847"/>
      </p:ext>
    </p:extLst>
  </p:cSld>
  <p:clrMapOvr>
    <a:masterClrMapping/>
  </p:clrMapOvr>
  <p:transition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7F90F9B-E310-BE4D-A5FE-A312BECC51F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62085662"/>
      </p:ext>
    </p:extLst>
  </p:cSld>
  <p:clrMapOvr>
    <a:masterClrMapping/>
  </p:clrMapOvr>
  <p:transition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4BA545-8658-8B45-A99E-DCAC8356B16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52549283"/>
      </p:ext>
    </p:extLst>
  </p:cSld>
  <p:clrMapOvr>
    <a:masterClrMapping/>
  </p:clrMapOvr>
  <p:transition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F1089A-BCAE-C04F-987C-C3DC7F978BD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10097129"/>
      </p:ext>
    </p:extLst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A021E6-80C1-B740-A7E4-01551A7FC73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39331435"/>
      </p:ext>
    </p:extLst>
  </p:cSld>
  <p:clrMapOvr>
    <a:masterClrMapping/>
  </p:clrMapOvr>
  <p:transition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14FC32-CBB1-6A4E-B7B9-AF2BABAE1B1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82742104"/>
      </p:ext>
    </p:extLst>
  </p:cSld>
  <p:clrMapOvr>
    <a:masterClrMapping/>
  </p:clrMapOvr>
  <p:transition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1065A6-7C58-1A4A-87D7-7283BBEF323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25997741"/>
      </p:ext>
    </p:extLst>
  </p:cSld>
  <p:clrMapOvr>
    <a:masterClrMapping/>
  </p:clrMapOvr>
  <p:transition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2DE598-6883-CB46-9361-8E6A2BC1EBF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02717357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3EC3686-70A3-5D43-A2C8-F3B25A4BDE1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78517127"/>
      </p:ext>
    </p:extLst>
  </p:cSld>
  <p:clrMapOvr>
    <a:masterClrMapping/>
  </p:clrMapOvr>
  <p:transition spd="med">
    <p:cover dir="ld"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B93779-5723-5044-B790-F2B9E5595FC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936021"/>
      </p:ext>
    </p:extLst>
  </p:cSld>
  <p:clrMapOvr>
    <a:masterClrMapping/>
  </p:clrMapOvr>
  <p:transition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6064359"/>
      </p:ext>
    </p:extLst>
  </p:cSld>
  <p:clrMapOvr>
    <a:masterClrMapping/>
  </p:clrMapOvr>
  <p:transition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6511017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88F27A1C-4DF0-F64F-AE1C-EBA36AE4BA3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8663366"/>
      </p:ext>
    </p:extLst>
  </p:cSld>
  <p:clrMapOvr>
    <a:masterClrMapping/>
  </p:clrMapOvr>
  <p:transition spd="med" advTm="7000">
    <p:cover dir="ld"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778322"/>
      </p:ext>
    </p:extLst>
  </p:cSld>
  <p:clrMapOvr>
    <a:masterClrMapping/>
  </p:clrMapOvr>
  <p:transition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F9C1F2-6D71-D14A-8C7B-D1EA6E44C5D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92725776"/>
      </p:ext>
    </p:extLst>
  </p:cSld>
  <p:clrMapOvr>
    <a:masterClrMapping/>
  </p:clrMapOvr>
  <p:transition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67AE5E-00BC-1E4E-8771-1769E2C7A97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21359290"/>
      </p:ext>
    </p:extLst>
  </p:cSld>
  <p:clrMapOvr>
    <a:masterClrMapping/>
  </p:clrMapOvr>
  <p:transition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0B2B91-3448-4142-A539-C4E055C7104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133378293"/>
      </p:ext>
    </p:extLst>
  </p:cSld>
  <p:clrMapOvr>
    <a:masterClrMapping/>
  </p:clrMapOvr>
  <p:transition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1C2EA6-D94E-094F-9E1B-DBB9FA616BA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02000139"/>
      </p:ext>
    </p:extLst>
  </p:cSld>
  <p:clrMapOvr>
    <a:masterClrMapping/>
  </p:clrMapOvr>
  <p:transition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D58BBD-67AF-D746-A19E-38FF6B56A0F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0545689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61688A-916D-4947-9E84-134A6A29B32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92166497"/>
      </p:ext>
    </p:extLst>
  </p:cSld>
  <p:clrMapOvr>
    <a:masterClrMapping/>
  </p:clrMapOvr>
  <p:transition spd="med">
    <p:cover dir="ld"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2FFFB99-8A0A-AC4B-B9C4-EC973622167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58110565"/>
      </p:ext>
    </p:extLst>
  </p:cSld>
  <p:clrMapOvr>
    <a:masterClrMapping/>
  </p:clrMapOvr>
  <p:transition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4D9D90-3550-F04C-8438-C7E4A52A534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31880749"/>
      </p:ext>
    </p:extLst>
  </p:cSld>
  <p:clrMapOvr>
    <a:masterClrMapping/>
  </p:clrMapOvr>
  <p:transition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3CAC57C-E27E-804E-8974-5094417AE3E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09603317"/>
      </p:ext>
    </p:extLst>
  </p:cSld>
  <p:clrMapOvr>
    <a:masterClrMapping/>
  </p:clrMapOvr>
  <p:transition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7E79A8-20B6-DB47-96D2-A69C885FEDF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54958271"/>
      </p:ext>
    </p:extLst>
  </p:cSld>
  <p:clrMapOvr>
    <a:masterClrMapping/>
  </p:clrMapOvr>
  <p:transition/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3176E8-D8A0-4F47-B9D5-7758E3307FF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4089331"/>
      </p:ext>
    </p:extLst>
  </p:cSld>
  <p:clrMapOvr>
    <a:masterClrMapping/>
  </p:clrMapOvr>
  <p:transition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4243052"/>
      </p:ext>
    </p:extLst>
  </p:cSld>
  <p:clrMapOvr>
    <a:masterClrMapping/>
  </p:clrMapOvr>
  <p:transition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1744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692B480-A20A-694E-B0BC-2FBBBBCFBA1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528285413"/>
      </p:ext>
    </p:extLst>
  </p:cSld>
  <p:clrMapOvr>
    <a:masterClrMapping/>
  </p:clrMapOvr>
  <p:transition spd="med">
    <p:cover dir="l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77FAE3-95E0-1248-A869-3B4A9B36C01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95539593"/>
      </p:ext>
    </p:extLst>
  </p:cSld>
  <p:clrMapOvr>
    <a:masterClrMapping/>
  </p:clrMapOvr>
  <p:transition spd="med">
    <p:cover dir="l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9219BFD-A0A6-DF41-B8AB-B4F4C76EA64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76938219"/>
      </p:ext>
    </p:extLst>
  </p:cSld>
  <p:clrMapOvr>
    <a:masterClrMapping/>
  </p:clrMapOvr>
  <p:transition spd="med">
    <p:cover dir="l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6C39FE-0C4A-8842-9078-1FFDE2F0075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04959106"/>
      </p:ext>
    </p:extLst>
  </p:cSld>
  <p:clrMapOvr>
    <a:masterClrMapping/>
  </p:clrMapOvr>
  <p:transition spd="med">
    <p:cover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79CE4AE-799C-1140-B087-374C8C674F3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28297134"/>
      </p:ext>
    </p:extLst>
  </p:cSld>
  <p:clrMapOvr>
    <a:masterClrMapping/>
  </p:clrMapOvr>
  <p:transition spd="med">
    <p:cover dir="l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31F607-9FCE-F141-9CED-C3D533A351A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85300176"/>
      </p:ext>
    </p:extLst>
  </p:cSld>
  <p:clrMapOvr>
    <a:masterClrMapping/>
  </p:clrMapOvr>
  <p:transition spd="med">
    <p:cover dir="l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24049095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60151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76800" y="1600200"/>
            <a:ext cx="3810000" cy="21891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76800" y="3941763"/>
            <a:ext cx="3810000" cy="21891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FF01C0F3-51DC-F245-9B78-869B782AE5B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63473105"/>
      </p:ext>
    </p:extLst>
  </p:cSld>
  <p:clrMapOvr>
    <a:masterClrMapping/>
  </p:clrMapOvr>
  <p:transition spd="med" advTm="7000">
    <p:cover dir="l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14400" y="277813"/>
            <a:ext cx="7772400" cy="585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8777F424-2695-5448-B158-567433700BD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50359089"/>
      </p:ext>
    </p:extLst>
  </p:cSld>
  <p:clrMapOvr>
    <a:masterClrMapping/>
  </p:clrMapOvr>
  <p:transition spd="med" advTm="7000">
    <p:cover dir="l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708C0800-5D7C-8E43-840A-0AF88875345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862609061"/>
      </p:ext>
    </p:extLst>
  </p:cSld>
  <p:clrMapOvr>
    <a:masterClrMapping/>
  </p:clrMapOvr>
  <p:transition spd="med" advTm="7000">
    <p:cover dir="l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36590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556BDE-D39D-E041-B3B3-317728199E3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556357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7B9F69-F7BE-9946-A64C-16AFAF9D6C6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8542856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F3B38B-F0D2-4E43-A7AA-D5FED79BC5F7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08726302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12A17-4B0F-7740-9F7F-CA7E76575F4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05817417"/>
      </p:ext>
    </p:extLst>
  </p:cSld>
  <p:clrMapOvr>
    <a:masterClrMapping/>
  </p:clrMapOvr>
  <p:transition spd="med">
    <p:cover dir="l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5ED73FB-07D0-994D-A4AA-2A857B7A428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9129204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00F8E8-5EA6-F348-BBBF-B427F651E0E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5887004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8CE275-D162-4145-992C-CD1785CF378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03162383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EFFC64-4594-2644-8A00-3079F84A601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4415092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0E00C32-D5BE-B24D-B963-B330C494EC2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367691621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6A563C-B760-624E-B17F-34B613F4FD7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811665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278CD72-4215-4546-930E-497FC906686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7807351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2747421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179690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8288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E6FAB0-4147-C34C-957E-4049BDFA4BC9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58243225"/>
      </p:ext>
    </p:extLst>
  </p:cSld>
  <p:clrMapOvr>
    <a:masterClrMapping/>
  </p:clrMapOvr>
  <p:transition spd="med">
    <p:cover dir="l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252000" y="1268280"/>
            <a:ext cx="8642880" cy="504360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63817144"/>
      </p:ext>
    </p:extLst>
  </p:cSld>
  <p:clrMapOvr>
    <a:masterClrMapping/>
  </p:clrMapOvr>
  <p:transition spd="med">
    <p:cover dir="l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7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8642880" cy="50432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852854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9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50432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PlaceHolder 3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50432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348872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79852855"/>
      </p:ext>
    </p:extLst>
  </p:cSld>
  <p:clrMapOvr>
    <a:masterClrMapping/>
  </p:clrMapOvr>
  <p:transition spd="med">
    <p:cover dir="l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subTitle"/>
          </p:nvPr>
        </p:nvSpPr>
        <p:spPr>
          <a:xfrm>
            <a:off x="468360" y="0"/>
            <a:ext cx="7632360" cy="6311520"/>
          </a:xfrm>
          <a:prstGeom prst="rect">
            <a:avLst/>
          </a:prstGeom>
        </p:spPr>
        <p:txBody>
          <a:bodyPr anchor="ctr"/>
          <a:lstStyle/>
          <a:p>
            <a:r>
              <a:rPr lang="ru-RU" smtClean="0"/>
              <a:t>Образец под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5407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Заголовок, 2 маленьких объекта и 1 большой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14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PlaceHolder 3"/>
          <p:cNvSpPr>
            <a:spLocks noGrp="1"/>
          </p:cNvSpPr>
          <p:nvPr>
            <p:ph type="body"/>
          </p:nvPr>
        </p:nvSpPr>
        <p:spPr>
          <a:xfrm>
            <a:off x="252000" y="390204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PlaceHolder 4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50432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409198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50432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PlaceHolder 3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PlaceHolder 4"/>
          <p:cNvSpPr>
            <a:spLocks noGrp="1"/>
          </p:cNvSpPr>
          <p:nvPr>
            <p:ph type="body"/>
          </p:nvPr>
        </p:nvSpPr>
        <p:spPr>
          <a:xfrm>
            <a:off x="4680360" y="390204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184815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22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PlaceHolder 3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4" name="PlaceHolder 4"/>
          <p:cNvSpPr>
            <a:spLocks noGrp="1"/>
          </p:cNvSpPr>
          <p:nvPr>
            <p:ph type="body"/>
          </p:nvPr>
        </p:nvSpPr>
        <p:spPr>
          <a:xfrm>
            <a:off x="252000" y="3902040"/>
            <a:ext cx="864252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452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26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864288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7" name="PlaceHolder 3"/>
          <p:cNvSpPr>
            <a:spLocks noGrp="1"/>
          </p:cNvSpPr>
          <p:nvPr>
            <p:ph type="body"/>
          </p:nvPr>
        </p:nvSpPr>
        <p:spPr>
          <a:xfrm>
            <a:off x="252000" y="3902040"/>
            <a:ext cx="864288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60203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29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0" name="PlaceHolder 3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PlaceHolder 4"/>
          <p:cNvSpPr>
            <a:spLocks noGrp="1"/>
          </p:cNvSpPr>
          <p:nvPr>
            <p:ph type="body"/>
          </p:nvPr>
        </p:nvSpPr>
        <p:spPr>
          <a:xfrm>
            <a:off x="4680360" y="390204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PlaceHolder 5"/>
          <p:cNvSpPr>
            <a:spLocks noGrp="1"/>
          </p:cNvSpPr>
          <p:nvPr>
            <p:ph type="body"/>
          </p:nvPr>
        </p:nvSpPr>
        <p:spPr>
          <a:xfrm>
            <a:off x="252000" y="390204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70829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87FD0AF-DCC7-3840-93C3-686770F77C8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214013722"/>
      </p:ext>
    </p:extLst>
  </p:cSld>
  <p:clrMapOvr>
    <a:masterClrMapping/>
  </p:clrMapOvr>
  <p:transition spd="med">
    <p:cover dir="l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468360" y="0"/>
            <a:ext cx="7632360" cy="961920"/>
          </a:xfrm>
          <a:prstGeom prst="rect">
            <a:avLst/>
          </a:prstGeom>
        </p:spPr>
        <p:txBody>
          <a:bodyPr wrap="none"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4" name="PlaceHolder 2"/>
          <p:cNvSpPr>
            <a:spLocks noGrp="1"/>
          </p:cNvSpPr>
          <p:nvPr>
            <p:ph type="body"/>
          </p:nvPr>
        </p:nvSpPr>
        <p:spPr>
          <a:xfrm>
            <a:off x="25200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5" name="PlaceHolder 3"/>
          <p:cNvSpPr>
            <a:spLocks noGrp="1"/>
          </p:cNvSpPr>
          <p:nvPr>
            <p:ph type="body"/>
          </p:nvPr>
        </p:nvSpPr>
        <p:spPr>
          <a:xfrm>
            <a:off x="4680360" y="1268280"/>
            <a:ext cx="4217400" cy="24051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84577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7813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38100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914400" y="6251575"/>
            <a:ext cx="19812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endParaRPr lang="x-none" altLang="x-none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781800" y="6248400"/>
            <a:ext cx="19050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D7A5E312-5917-AC49-946E-AA03A5A86AA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79960661"/>
      </p:ext>
    </p:extLst>
  </p:cSld>
  <p:clrMapOvr>
    <a:masterClrMapping/>
  </p:clrMapOvr>
  <p:transition spd="med" advTm="7000">
    <p:cover dir="l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83302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B44D2B-4FE9-0640-BF58-A454421758B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34274517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2EE1CD-FA39-EF41-BF0F-4EA16B0EE871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298351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69DB4F-A2FD-3D4B-9A19-8A9E2AF77AD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9668384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912223-73EC-684D-AD8E-9BEAEA001D0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7049334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3C67C83-5ACC-DC4C-8CD5-8CA257877533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2786495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93C212-77FB-C240-8292-BF02915632A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9304955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64898E-6A65-7648-A1DB-281EEED3A19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32418952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E5B2C0-4F14-E446-9536-2B565E4A05B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86495507"/>
      </p:ext>
    </p:extLst>
  </p:cSld>
  <p:clrMapOvr>
    <a:masterClrMapping/>
  </p:clrMapOvr>
  <p:transition spd="med">
    <p:cover dir="l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6F6B2F-F5D3-D040-84CC-27ADA6000CE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487250201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CEDEEA-0E2D-D849-9778-CBAD6D451EA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85898219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B25CC08-F427-8B48-B84B-DE49D5D7D3FA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28693038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8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953243084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2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06168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081B0ED-C302-0C4E-A4B6-70FFEB54F01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49536958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341766-E345-A74B-858F-FF329809FE2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207957416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215BCF-D520-514E-8960-053E3EB99AF4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06585809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D42B75-BC88-D643-9863-B224F25CE33F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17930884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D65BAA-16C8-4A47-908A-12A21AD55D8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1714613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E1789D-2E14-5842-A151-736E22A9D4E0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47834465"/>
      </p:ext>
    </p:extLst>
  </p:cSld>
  <p:clrMapOvr>
    <a:masterClrMapping/>
  </p:clrMapOvr>
  <p:transition spd="med">
    <p:cover dir="ld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38702E-D7AF-9A4F-8291-A05068755342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601800535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206D96-A00E-854D-8318-A7D6E75F7C2E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606592953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A9D109D-1938-4F44-955C-6FE6D6A254D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0288876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BA48FC-8B03-2A47-A813-98AAF82F25CB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731973232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F3E8DA-29FF-5948-B230-470BB789DB2D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487780208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1069" b="63089"/>
          <a:stretch>
            <a:fillRect/>
          </a:stretch>
        </p:blipFill>
        <p:spPr bwMode="auto">
          <a:xfrm>
            <a:off x="11113" y="190500"/>
            <a:ext cx="91328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3848100" y="4659313"/>
            <a:ext cx="5292725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2456384"/>
            <a:ext cx="7291409" cy="85164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1046163" y="6596063"/>
            <a:ext cx="3068637" cy="2619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414142"/>
                </a:solidFill>
                <a:latin typeface="Arial" charset="0"/>
              </a:defRPr>
            </a:lvl1pPr>
          </a:lstStyle>
          <a:p>
            <a:r>
              <a:rPr lang="ru-RU" altLang="x-none" smtClean="0"/>
              <a:t>из 26</a:t>
            </a:r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786986474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8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4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286522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042BE11-ED40-FA43-BC6B-8FF6FD7F99A8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969853835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2859C9E-6252-EE4C-A0D3-1E6CD257178C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725502693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2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9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1DCF9B-5CE3-F343-8B9C-9EF60E15C3A5}" type="slidenum">
              <a:rPr lang="ru-RU" altLang="x-none"/>
              <a:pPr/>
              <a:t>‹#›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90459216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slideLayout" Target="../slideLayouts/slideLayout17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6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8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0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slideLayout" Target="../slideLayouts/slideLayout23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25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4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5" Type="http://schemas.openxmlformats.org/officeDocument/2006/relationships/slideLayout" Target="../slideLayouts/slideLayout24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slideLayout" Target="../slideLayouts/slideLayout26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slideLayout" Target="../slideLayouts/slideLayout26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5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6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slideLayout" Target="../slideLayouts/slideLayout29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7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9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29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0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1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4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4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3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334.xml"/><Relationship Id="rId15" Type="http://schemas.openxmlformats.org/officeDocument/2006/relationships/theme" Target="../theme/theme26.xml"/><Relationship Id="rId10" Type="http://schemas.openxmlformats.org/officeDocument/2006/relationships/slideLayout" Target="../slideLayouts/slideLayout339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4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1.xml"/><Relationship Id="rId13" Type="http://schemas.openxmlformats.org/officeDocument/2006/relationships/slideLayout" Target="../slideLayouts/slideLayout35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46.xml"/><Relationship Id="rId7" Type="http://schemas.openxmlformats.org/officeDocument/2006/relationships/slideLayout" Target="../slideLayouts/slideLayout350.xml"/><Relationship Id="rId12" Type="http://schemas.openxmlformats.org/officeDocument/2006/relationships/slideLayout" Target="../slideLayouts/slideLayout35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4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44.xml"/><Relationship Id="rId6" Type="http://schemas.openxmlformats.org/officeDocument/2006/relationships/slideLayout" Target="../slideLayouts/slideLayout349.xml"/><Relationship Id="rId11" Type="http://schemas.openxmlformats.org/officeDocument/2006/relationships/slideLayout" Target="../slideLayouts/slideLayout354.xml"/><Relationship Id="rId5" Type="http://schemas.openxmlformats.org/officeDocument/2006/relationships/slideLayout" Target="../slideLayouts/slideLayout34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53.xml"/><Relationship Id="rId4" Type="http://schemas.openxmlformats.org/officeDocument/2006/relationships/slideLayout" Target="../slideLayouts/slideLayout347.xml"/><Relationship Id="rId9" Type="http://schemas.openxmlformats.org/officeDocument/2006/relationships/slideLayout" Target="../slideLayouts/slideLayout352.xml"/><Relationship Id="rId14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C69DAAE3-E1DE-6044-88A0-5DFB29F64535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7680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76805" name="navigation8" descr="ujkm,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39" r:id="rId1"/>
    <p:sldLayoutId id="2147485040" r:id="rId2"/>
    <p:sldLayoutId id="2147484841" r:id="rId3"/>
    <p:sldLayoutId id="2147484842" r:id="rId4"/>
    <p:sldLayoutId id="2147484843" r:id="rId5"/>
    <p:sldLayoutId id="2147484844" r:id="rId6"/>
    <p:sldLayoutId id="2147484845" r:id="rId7"/>
    <p:sldLayoutId id="2147484846" r:id="rId8"/>
    <p:sldLayoutId id="2147484847" r:id="rId9"/>
    <p:sldLayoutId id="2147484848" r:id="rId10"/>
    <p:sldLayoutId id="2147484849" r:id="rId11"/>
    <p:sldLayoutId id="2147485041" r:id="rId12"/>
    <p:sldLayoutId id="2147485042" r:id="rId13"/>
    <p:sldLayoutId id="2147485043" r:id="rId14"/>
    <p:sldLayoutId id="2147485044" r:id="rId15"/>
    <p:sldLayoutId id="2147485045" r:id="rId16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6984F79E-56C7-7B41-911B-0440ACBAB0FB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6021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70" r:id="rId1"/>
    <p:sldLayoutId id="2147485071" r:id="rId2"/>
    <p:sldLayoutId id="2147485072" r:id="rId3"/>
    <p:sldLayoutId id="2147485073" r:id="rId4"/>
    <p:sldLayoutId id="2147485074" r:id="rId5"/>
    <p:sldLayoutId id="2147484931" r:id="rId6"/>
    <p:sldLayoutId id="2147485075" r:id="rId7"/>
    <p:sldLayoutId id="2147485076" r:id="rId8"/>
    <p:sldLayoutId id="2147485077" r:id="rId9"/>
    <p:sldLayoutId id="2147485078" r:id="rId10"/>
    <p:sldLayoutId id="2147485079" r:id="rId11"/>
    <p:sldLayoutId id="2147485080" r:id="rId12"/>
    <p:sldLayoutId id="2147485081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84F00558-8C4A-F04F-B3E3-D9A6B46AC62D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7045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82" r:id="rId1"/>
    <p:sldLayoutId id="2147484932" r:id="rId2"/>
    <p:sldLayoutId id="2147484933" r:id="rId3"/>
    <p:sldLayoutId id="2147484934" r:id="rId4"/>
    <p:sldLayoutId id="2147484935" r:id="rId5"/>
    <p:sldLayoutId id="2147484936" r:id="rId6"/>
    <p:sldLayoutId id="2147484937" r:id="rId7"/>
    <p:sldLayoutId id="2147484938" r:id="rId8"/>
    <p:sldLayoutId id="2147484939" r:id="rId9"/>
    <p:sldLayoutId id="2147484940" r:id="rId10"/>
    <p:sldLayoutId id="2147484941" r:id="rId11"/>
    <p:sldLayoutId id="2147485083" r:id="rId12"/>
    <p:sldLayoutId id="2147485084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CDCF7527-29EB-7449-B0B6-AB66A1411CD9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806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85" r:id="rId1"/>
    <p:sldLayoutId id="2147485086" r:id="rId2"/>
    <p:sldLayoutId id="2147485087" r:id="rId3"/>
    <p:sldLayoutId id="2147485088" r:id="rId4"/>
    <p:sldLayoutId id="2147485089" r:id="rId5"/>
    <p:sldLayoutId id="2147484942" r:id="rId6"/>
    <p:sldLayoutId id="2147485090" r:id="rId7"/>
    <p:sldLayoutId id="2147485091" r:id="rId8"/>
    <p:sldLayoutId id="2147485092" r:id="rId9"/>
    <p:sldLayoutId id="2147485093" r:id="rId10"/>
    <p:sldLayoutId id="2147485094" r:id="rId11"/>
    <p:sldLayoutId id="2147485095" r:id="rId12"/>
    <p:sldLayoutId id="2147485096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1DE58B5F-BAEE-EC4C-89C0-765ED37BA055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9093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97" r:id="rId1"/>
    <p:sldLayoutId id="2147484943" r:id="rId2"/>
    <p:sldLayoutId id="2147484944" r:id="rId3"/>
    <p:sldLayoutId id="2147484945" r:id="rId4"/>
    <p:sldLayoutId id="2147484946" r:id="rId5"/>
    <p:sldLayoutId id="2147484947" r:id="rId6"/>
    <p:sldLayoutId id="2147484948" r:id="rId7"/>
    <p:sldLayoutId id="2147484949" r:id="rId8"/>
    <p:sldLayoutId id="2147484950" r:id="rId9"/>
    <p:sldLayoutId id="2147484951" r:id="rId10"/>
    <p:sldLayoutId id="2147484952" r:id="rId11"/>
    <p:sldLayoutId id="2147485098" r:id="rId12"/>
    <p:sldLayoutId id="2147485099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764745E8-194D-224E-805D-45F49E2E1E5E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01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0117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00" r:id="rId1"/>
    <p:sldLayoutId id="2147485101" r:id="rId2"/>
    <p:sldLayoutId id="2147485102" r:id="rId3"/>
    <p:sldLayoutId id="2147485103" r:id="rId4"/>
    <p:sldLayoutId id="2147485104" r:id="rId5"/>
    <p:sldLayoutId id="2147484953" r:id="rId6"/>
    <p:sldLayoutId id="2147485105" r:id="rId7"/>
    <p:sldLayoutId id="2147485106" r:id="rId8"/>
    <p:sldLayoutId id="2147485107" r:id="rId9"/>
    <p:sldLayoutId id="2147485108" r:id="rId10"/>
    <p:sldLayoutId id="2147485109" r:id="rId11"/>
    <p:sldLayoutId id="2147485110" r:id="rId12"/>
    <p:sldLayoutId id="2147485111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B068D9BC-0F8A-614D-B814-9DB691FEC9A4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11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11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1141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2" r:id="rId1"/>
    <p:sldLayoutId id="2147484954" r:id="rId2"/>
    <p:sldLayoutId id="2147484955" r:id="rId3"/>
    <p:sldLayoutId id="2147484956" r:id="rId4"/>
    <p:sldLayoutId id="2147484957" r:id="rId5"/>
    <p:sldLayoutId id="2147484958" r:id="rId6"/>
    <p:sldLayoutId id="2147484959" r:id="rId7"/>
    <p:sldLayoutId id="2147484960" r:id="rId8"/>
    <p:sldLayoutId id="2147484961" r:id="rId9"/>
    <p:sldLayoutId id="2147484962" r:id="rId10"/>
    <p:sldLayoutId id="2147484963" r:id="rId11"/>
    <p:sldLayoutId id="2147485113" r:id="rId12"/>
    <p:sldLayoutId id="2147485114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174C0991-2327-B548-BE29-0088C81CD81E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2165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16" r:id="rId2"/>
    <p:sldLayoutId id="2147485117" r:id="rId3"/>
    <p:sldLayoutId id="2147485118" r:id="rId4"/>
    <p:sldLayoutId id="2147485119" r:id="rId5"/>
    <p:sldLayoutId id="2147484964" r:id="rId6"/>
    <p:sldLayoutId id="2147485120" r:id="rId7"/>
    <p:sldLayoutId id="2147485121" r:id="rId8"/>
    <p:sldLayoutId id="2147485122" r:id="rId9"/>
    <p:sldLayoutId id="2147485123" r:id="rId10"/>
    <p:sldLayoutId id="2147485124" r:id="rId11"/>
    <p:sldLayoutId id="2147485125" r:id="rId12"/>
    <p:sldLayoutId id="2147485126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1592BF4F-A824-8047-A9CB-8B1D82B60FED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318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318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27" r:id="rId1"/>
    <p:sldLayoutId id="2147484965" r:id="rId2"/>
    <p:sldLayoutId id="2147484966" r:id="rId3"/>
    <p:sldLayoutId id="2147484967" r:id="rId4"/>
    <p:sldLayoutId id="2147484968" r:id="rId5"/>
    <p:sldLayoutId id="2147484969" r:id="rId6"/>
    <p:sldLayoutId id="2147484970" r:id="rId7"/>
    <p:sldLayoutId id="2147484971" r:id="rId8"/>
    <p:sldLayoutId id="2147484972" r:id="rId9"/>
    <p:sldLayoutId id="2147484973" r:id="rId10"/>
    <p:sldLayoutId id="2147484974" r:id="rId11"/>
    <p:sldLayoutId id="2147485128" r:id="rId12"/>
    <p:sldLayoutId id="2147485129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30BAEC01-EED5-8A46-9D22-29B4301285A3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421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4213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30" r:id="rId1"/>
    <p:sldLayoutId id="2147485131" r:id="rId2"/>
    <p:sldLayoutId id="2147485132" r:id="rId3"/>
    <p:sldLayoutId id="2147485133" r:id="rId4"/>
    <p:sldLayoutId id="2147485134" r:id="rId5"/>
    <p:sldLayoutId id="2147484975" r:id="rId6"/>
    <p:sldLayoutId id="2147485135" r:id="rId7"/>
    <p:sldLayoutId id="2147485136" r:id="rId8"/>
    <p:sldLayoutId id="2147485137" r:id="rId9"/>
    <p:sldLayoutId id="2147485138" r:id="rId10"/>
    <p:sldLayoutId id="2147485139" r:id="rId11"/>
    <p:sldLayoutId id="2147485140" r:id="rId12"/>
    <p:sldLayoutId id="2147485141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0112D520-D341-3D4A-A871-8C4288886F3F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5237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42" r:id="rId1"/>
    <p:sldLayoutId id="2147484976" r:id="rId2"/>
    <p:sldLayoutId id="2147484977" r:id="rId3"/>
    <p:sldLayoutId id="2147484978" r:id="rId4"/>
    <p:sldLayoutId id="2147484979" r:id="rId5"/>
    <p:sldLayoutId id="2147484980" r:id="rId6"/>
    <p:sldLayoutId id="2147484981" r:id="rId7"/>
    <p:sldLayoutId id="2147484982" r:id="rId8"/>
    <p:sldLayoutId id="2147484983" r:id="rId9"/>
    <p:sldLayoutId id="2147484984" r:id="rId10"/>
    <p:sldLayoutId id="2147484985" r:id="rId11"/>
    <p:sldLayoutId id="2147485143" r:id="rId12"/>
    <p:sldLayoutId id="2147485144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3BFF08B1-E267-E144-9150-8077C41C92F4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778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778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4850" r:id="rId2"/>
    <p:sldLayoutId id="2147484851" r:id="rId3"/>
    <p:sldLayoutId id="2147484852" r:id="rId4"/>
    <p:sldLayoutId id="2147484853" r:id="rId5"/>
    <p:sldLayoutId id="2147484854" r:id="rId6"/>
    <p:sldLayoutId id="2147484855" r:id="rId7"/>
    <p:sldLayoutId id="2147484856" r:id="rId8"/>
    <p:sldLayoutId id="2147484857" r:id="rId9"/>
    <p:sldLayoutId id="2147484858" r:id="rId10"/>
    <p:sldLayoutId id="2147484859" r:id="rId11"/>
    <p:sldLayoutId id="2147485047" r:id="rId12"/>
    <p:sldLayoutId id="2147485048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15CF9C77-6536-8F48-A19F-BAAEA94C18A4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6261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45" r:id="rId1"/>
    <p:sldLayoutId id="2147485146" r:id="rId2"/>
    <p:sldLayoutId id="2147485147" r:id="rId3"/>
    <p:sldLayoutId id="2147485148" r:id="rId4"/>
    <p:sldLayoutId id="2147485149" r:id="rId5"/>
    <p:sldLayoutId id="2147484986" r:id="rId6"/>
    <p:sldLayoutId id="2147485150" r:id="rId7"/>
    <p:sldLayoutId id="2147485151" r:id="rId8"/>
    <p:sldLayoutId id="2147485152" r:id="rId9"/>
    <p:sldLayoutId id="2147485153" r:id="rId10"/>
    <p:sldLayoutId id="2147485154" r:id="rId11"/>
    <p:sldLayoutId id="2147485155" r:id="rId12"/>
    <p:sldLayoutId id="2147485156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A5624542-73B7-AE46-A992-30DA6EC10B53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728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7285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57" r:id="rId1"/>
    <p:sldLayoutId id="2147484987" r:id="rId2"/>
    <p:sldLayoutId id="2147484988" r:id="rId3"/>
    <p:sldLayoutId id="2147484989" r:id="rId4"/>
    <p:sldLayoutId id="2147484990" r:id="rId5"/>
    <p:sldLayoutId id="2147484991" r:id="rId6"/>
    <p:sldLayoutId id="2147484992" r:id="rId7"/>
    <p:sldLayoutId id="2147484993" r:id="rId8"/>
    <p:sldLayoutId id="2147484994" r:id="rId9"/>
    <p:sldLayoutId id="2147484995" r:id="rId10"/>
    <p:sldLayoutId id="2147484996" r:id="rId11"/>
    <p:sldLayoutId id="2147485158" r:id="rId12"/>
    <p:sldLayoutId id="2147485159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67AC0854-E415-764C-A98A-51A21469C5F0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830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830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60" r:id="rId1"/>
    <p:sldLayoutId id="2147485161" r:id="rId2"/>
    <p:sldLayoutId id="2147485162" r:id="rId3"/>
    <p:sldLayoutId id="2147485163" r:id="rId4"/>
    <p:sldLayoutId id="2147485164" r:id="rId5"/>
    <p:sldLayoutId id="2147484997" r:id="rId6"/>
    <p:sldLayoutId id="2147485165" r:id="rId7"/>
    <p:sldLayoutId id="2147485166" r:id="rId8"/>
    <p:sldLayoutId id="2147485167" r:id="rId9"/>
    <p:sldLayoutId id="2147485168" r:id="rId10"/>
    <p:sldLayoutId id="2147485169" r:id="rId11"/>
    <p:sldLayoutId id="2147485170" r:id="rId12"/>
    <p:sldLayoutId id="2147485171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EB4397C5-254C-C24A-A56B-78C51556E71D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993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9933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99333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72" r:id="rId1"/>
    <p:sldLayoutId id="2147484998" r:id="rId2"/>
    <p:sldLayoutId id="2147484999" r:id="rId3"/>
    <p:sldLayoutId id="2147485000" r:id="rId4"/>
    <p:sldLayoutId id="2147485001" r:id="rId5"/>
    <p:sldLayoutId id="2147485002" r:id="rId6"/>
    <p:sldLayoutId id="2147485003" r:id="rId7"/>
    <p:sldLayoutId id="2147485004" r:id="rId8"/>
    <p:sldLayoutId id="2147485005" r:id="rId9"/>
    <p:sldLayoutId id="2147485006" r:id="rId10"/>
    <p:sldLayoutId id="2147485007" r:id="rId11"/>
    <p:sldLayoutId id="2147485173" r:id="rId12"/>
    <p:sldLayoutId id="2147485174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87E5185E-F693-D14A-95FE-2C28C1CBF479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100357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75" r:id="rId1"/>
    <p:sldLayoutId id="2147485176" r:id="rId2"/>
    <p:sldLayoutId id="2147485177" r:id="rId3"/>
    <p:sldLayoutId id="2147485178" r:id="rId4"/>
    <p:sldLayoutId id="2147485179" r:id="rId5"/>
    <p:sldLayoutId id="2147485008" r:id="rId6"/>
    <p:sldLayoutId id="2147485180" r:id="rId7"/>
    <p:sldLayoutId id="2147485181" r:id="rId8"/>
    <p:sldLayoutId id="2147485182" r:id="rId9"/>
    <p:sldLayoutId id="2147485183" r:id="rId10"/>
    <p:sldLayoutId id="2147485184" r:id="rId11"/>
    <p:sldLayoutId id="2147485185" r:id="rId12"/>
    <p:sldLayoutId id="2147485186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CD090331-6FE1-FD44-8AE5-AF56F7706265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1013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1013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101381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87" r:id="rId1"/>
    <p:sldLayoutId id="2147485009" r:id="rId2"/>
    <p:sldLayoutId id="2147485010" r:id="rId3"/>
    <p:sldLayoutId id="2147485011" r:id="rId4"/>
    <p:sldLayoutId id="2147485012" r:id="rId5"/>
    <p:sldLayoutId id="2147485013" r:id="rId6"/>
    <p:sldLayoutId id="2147485014" r:id="rId7"/>
    <p:sldLayoutId id="2147485015" r:id="rId8"/>
    <p:sldLayoutId id="2147485016" r:id="rId9"/>
    <p:sldLayoutId id="2147485017" r:id="rId10"/>
    <p:sldLayoutId id="2147485018" r:id="rId11"/>
    <p:sldLayoutId id="2147485188" r:id="rId12"/>
    <p:sldLayoutId id="2147485189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E82F2C7B-8BFC-1041-A5F1-99DB4CECA541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10240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102405" name="navigation8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0" r:id="rId1"/>
    <p:sldLayoutId id="2147485019" r:id="rId2"/>
    <p:sldLayoutId id="2147485020" r:id="rId3"/>
    <p:sldLayoutId id="2147485021" r:id="rId4"/>
    <p:sldLayoutId id="2147485022" r:id="rId5"/>
    <p:sldLayoutId id="2147485023" r:id="rId6"/>
    <p:sldLayoutId id="2147485024" r:id="rId7"/>
    <p:sldLayoutId id="2147485025" r:id="rId8"/>
    <p:sldLayoutId id="2147485026" r:id="rId9"/>
    <p:sldLayoutId id="2147485027" r:id="rId10"/>
    <p:sldLayoutId id="2147485028" r:id="rId11"/>
    <p:sldLayoutId id="2147485191" r:id="rId12"/>
    <p:sldLayoutId id="2147485192" r:id="rId13"/>
    <p:sldLayoutId id="2147485195" r:id="rId1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D135D12E-8C9B-4142-A75D-9A75360FCB22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1034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1034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029" r:id="rId2"/>
    <p:sldLayoutId id="2147485030" r:id="rId3"/>
    <p:sldLayoutId id="2147485031" r:id="rId4"/>
    <p:sldLayoutId id="2147485032" r:id="rId5"/>
    <p:sldLayoutId id="2147485033" r:id="rId6"/>
    <p:sldLayoutId id="2147485034" r:id="rId7"/>
    <p:sldLayoutId id="2147485035" r:id="rId8"/>
    <p:sldLayoutId id="2147485036" r:id="rId9"/>
    <p:sldLayoutId id="2147485037" r:id="rId10"/>
    <p:sldLayoutId id="2147485038" r:id="rId11"/>
    <p:sldLayoutId id="2147485197" r:id="rId12"/>
    <p:sldLayoutId id="2147485198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695523B7-D711-9848-AB7F-0DF5E52A4BFD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788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78853" name="navigation8" descr="ujkm,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49" r:id="rId1"/>
    <p:sldLayoutId id="2147485050" r:id="rId2"/>
    <p:sldLayoutId id="2147484860" r:id="rId3"/>
    <p:sldLayoutId id="2147484861" r:id="rId4"/>
    <p:sldLayoutId id="2147484862" r:id="rId5"/>
    <p:sldLayoutId id="2147484863" r:id="rId6"/>
    <p:sldLayoutId id="2147484864" r:id="rId7"/>
    <p:sldLayoutId id="2147484865" r:id="rId8"/>
    <p:sldLayoutId id="2147484866" r:id="rId9"/>
    <p:sldLayoutId id="2147484867" r:id="rId10"/>
    <p:sldLayoutId id="2147484868" r:id="rId11"/>
    <p:sldLayoutId id="2147485051" r:id="rId12"/>
    <p:sldLayoutId id="2147485052" r:id="rId13"/>
    <p:sldLayoutId id="2147485053" r:id="rId14"/>
    <p:sldLayoutId id="2147485054" r:id="rId15"/>
    <p:sldLayoutId id="2147485055" r:id="rId16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3339CF41-3D88-EB48-9698-BF76FFAAD3D8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79877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56" r:id="rId1"/>
    <p:sldLayoutId id="2147484869" r:id="rId2"/>
    <p:sldLayoutId id="2147484870" r:id="rId3"/>
    <p:sldLayoutId id="2147484871" r:id="rId4"/>
    <p:sldLayoutId id="2147484872" r:id="rId5"/>
    <p:sldLayoutId id="2147484873" r:id="rId6"/>
    <p:sldLayoutId id="2147484874" r:id="rId7"/>
    <p:sldLayoutId id="2147484875" r:id="rId8"/>
    <p:sldLayoutId id="2147484876" r:id="rId9"/>
    <p:sldLayoutId id="2147484877" r:id="rId10"/>
    <p:sldLayoutId id="2147484878" r:id="rId11"/>
    <p:sldLayoutId id="2147485057" r:id="rId12"/>
    <p:sldLayoutId id="2147485058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navigation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9" name="navigation8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900" name="PlaceHolder 1"/>
          <p:cNvSpPr>
            <a:spLocks noGrp="1"/>
          </p:cNvSpPr>
          <p:nvPr>
            <p:ph type="title"/>
          </p:nvPr>
        </p:nvSpPr>
        <p:spPr bwMode="auto">
          <a:xfrm>
            <a:off x="612775" y="2181225"/>
            <a:ext cx="8280400" cy="103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Для правки текста заголовка щелкните мышьюОбразец заголовка</a:t>
            </a:r>
            <a:endParaRPr lang="x-none" altLang="x-none"/>
          </a:p>
        </p:txBody>
      </p:sp>
      <p:sp>
        <p:nvSpPr>
          <p:cNvPr id="3" name="PlaceHolder 2"/>
          <p:cNvSpPr>
            <a:spLocks noGrp="1"/>
          </p:cNvSpPr>
          <p:nvPr>
            <p:ph type="body"/>
          </p:nvPr>
        </p:nvSpPr>
        <p:spPr>
          <a:xfrm>
            <a:off x="457200" y="1604963"/>
            <a:ext cx="8229600" cy="3976687"/>
          </a:xfrm>
          <a:prstGeom prst="rect">
            <a:avLst/>
          </a:prstGeom>
        </p:spPr>
        <p:txBody>
          <a:bodyPr wrap="none" lIns="0" tIns="0" rIns="0" bIns="0"/>
          <a:lstStyle/>
          <a:p>
            <a:r>
              <a:rPr lang="ru-RU"/>
              <a:t>Для правки структуры щелкните мышью</a:t>
            </a:r>
            <a:endParaRPr/>
          </a:p>
          <a:p>
            <a:pPr lvl="1"/>
            <a:r>
              <a:rPr lang="ru-RU"/>
              <a:t>Второй уровень структуры</a:t>
            </a:r>
            <a:endParaRPr/>
          </a:p>
          <a:p>
            <a:pPr lvl="2"/>
            <a:r>
              <a:rPr lang="ru-RU"/>
              <a:t>Третий уровень структуры</a:t>
            </a:r>
            <a:endParaRPr/>
          </a:p>
          <a:p>
            <a:pPr lvl="3"/>
            <a:r>
              <a:rPr lang="ru-RU"/>
              <a:t>Четвёртый уровень структуры</a:t>
            </a:r>
            <a:endParaRPr/>
          </a:p>
          <a:p>
            <a:pPr lvl="4"/>
            <a:r>
              <a:rPr lang="ru-RU"/>
              <a:t>Пятый уровень структуры</a:t>
            </a:r>
            <a:endParaRPr/>
          </a:p>
          <a:p>
            <a:pPr lvl="5"/>
            <a:r>
              <a:rPr lang="ru-RU"/>
              <a:t>Шестой уровень структуры</a:t>
            </a:r>
            <a:endParaRPr/>
          </a:p>
          <a:p>
            <a:pPr lvl="6"/>
            <a:r>
              <a:rPr lang="ru-RU"/>
              <a:t>Седьмой уровень структуры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80" r:id="rId2"/>
    <p:sldLayoutId id="2147484881" r:id="rId3"/>
    <p:sldLayoutId id="2147484882" r:id="rId4"/>
    <p:sldLayoutId id="2147484883" r:id="rId5"/>
    <p:sldLayoutId id="2147484884" r:id="rId6"/>
    <p:sldLayoutId id="2147484885" r:id="rId7"/>
    <p:sldLayoutId id="2147484886" r:id="rId8"/>
    <p:sldLayoutId id="2147484887" r:id="rId9"/>
    <p:sldLayoutId id="2147484888" r:id="rId10"/>
    <p:sldLayoutId id="2147484889" r:id="rId11"/>
    <p:sldLayoutId id="2147484890" r:id="rId12"/>
    <p:sldLayoutId id="2147485059" r:id="rId13"/>
  </p:sldLayoutIdLst>
  <p:transition spd="med">
    <p:cover dir="ld"/>
  </p:transition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DejaVu Sans" charset="0"/>
          <a:cs typeface="DejaVu Sans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26F1962F-E796-1044-9506-832BDB624930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1925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60" r:id="rId1"/>
    <p:sldLayoutId id="2147484891" r:id="rId2"/>
    <p:sldLayoutId id="2147484892" r:id="rId3"/>
    <p:sldLayoutId id="2147484893" r:id="rId4"/>
    <p:sldLayoutId id="2147484894" r:id="rId5"/>
    <p:sldLayoutId id="2147484895" r:id="rId6"/>
    <p:sldLayoutId id="2147484896" r:id="rId7"/>
    <p:sldLayoutId id="2147484897" r:id="rId8"/>
    <p:sldLayoutId id="2147484898" r:id="rId9"/>
    <p:sldLayoutId id="2147484899" r:id="rId10"/>
    <p:sldLayoutId id="2147484900" r:id="rId11"/>
    <p:sldLayoutId id="2147485061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B009BE00-C3B6-5C48-9FBE-9586B3BF9AD4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29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294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62" r:id="rId1"/>
    <p:sldLayoutId id="2147484901" r:id="rId2"/>
    <p:sldLayoutId id="2147484902" r:id="rId3"/>
    <p:sldLayoutId id="2147484903" r:id="rId4"/>
    <p:sldLayoutId id="2147484904" r:id="rId5"/>
    <p:sldLayoutId id="2147484905" r:id="rId6"/>
    <p:sldLayoutId id="2147484906" r:id="rId7"/>
    <p:sldLayoutId id="2147484907" r:id="rId8"/>
    <p:sldLayoutId id="2147484908" r:id="rId9"/>
    <p:sldLayoutId id="2147484909" r:id="rId10"/>
    <p:sldLayoutId id="2147484910" r:id="rId11"/>
    <p:sldLayoutId id="2147485063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69C9C598-2B69-A344-B774-1E03B5416C73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39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3973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64" r:id="rId1"/>
    <p:sldLayoutId id="2147484911" r:id="rId2"/>
    <p:sldLayoutId id="2147484912" r:id="rId3"/>
    <p:sldLayoutId id="2147484913" r:id="rId4"/>
    <p:sldLayoutId id="2147484914" r:id="rId5"/>
    <p:sldLayoutId id="2147484915" r:id="rId6"/>
    <p:sldLayoutId id="2147484916" r:id="rId7"/>
    <p:sldLayoutId id="2147484917" r:id="rId8"/>
    <p:sldLayoutId id="2147484918" r:id="rId9"/>
    <p:sldLayoutId id="2147484919" r:id="rId10"/>
    <p:sldLayoutId id="2147484920" r:id="rId11"/>
    <p:sldLayoutId id="2147485065" r:id="rId12"/>
    <p:sldLayoutId id="2147485066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rgbClr val="003274"/>
                </a:solidFill>
              </a:defRPr>
            </a:lvl1pPr>
          </a:lstStyle>
          <a:p>
            <a:fld id="{621C1C51-0F5C-524C-AF4C-57B17948F43C}" type="slidenum">
              <a:rPr lang="ru-RU" altLang="x-none"/>
              <a:pPr/>
              <a:t>‹#›</a:t>
            </a:fld>
            <a:endParaRPr lang="ru-RU" altLang="x-none"/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текста</a:t>
            </a:r>
          </a:p>
          <a:p>
            <a:pPr lvl="1"/>
            <a:r>
              <a:rPr lang="ru-RU" altLang="x-none"/>
              <a:t>Второй уровень</a:t>
            </a:r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x-none"/>
              <a:t>Образец заголовка</a:t>
            </a:r>
          </a:p>
        </p:txBody>
      </p:sp>
      <p:pic>
        <p:nvPicPr>
          <p:cNvPr id="84997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67" r:id="rId1"/>
    <p:sldLayoutId id="2147484921" r:id="rId2"/>
    <p:sldLayoutId id="2147484922" r:id="rId3"/>
    <p:sldLayoutId id="2147484923" r:id="rId4"/>
    <p:sldLayoutId id="2147484924" r:id="rId5"/>
    <p:sldLayoutId id="2147484925" r:id="rId6"/>
    <p:sldLayoutId id="2147484926" r:id="rId7"/>
    <p:sldLayoutId id="2147484927" r:id="rId8"/>
    <p:sldLayoutId id="2147484928" r:id="rId9"/>
    <p:sldLayoutId id="2147484929" r:id="rId10"/>
    <p:sldLayoutId id="2147484930" r:id="rId11"/>
    <p:sldLayoutId id="2147485068" r:id="rId12"/>
    <p:sldLayoutId id="2147485069" r:id="rId1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gif"/><Relationship Id="rId3" Type="http://schemas.openxmlformats.org/officeDocument/2006/relationships/tags" Target="../tags/tag4.xml"/><Relationship Id="rId7" Type="http://schemas.openxmlformats.org/officeDocument/2006/relationships/image" Target="../media/image3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6.gif"/><Relationship Id="rId4" Type="http://schemas.openxmlformats.org/officeDocument/2006/relationships/slideLayout" Target="../slideLayouts/slideLayout123.xml"/><Relationship Id="rId9" Type="http://schemas.openxmlformats.org/officeDocument/2006/relationships/image" Target="../media/image35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28.xml"/><Relationship Id="rId4" Type="http://schemas.openxmlformats.org/officeDocument/2006/relationships/image" Target="../media/image4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28.xml"/><Relationship Id="rId5" Type="http://schemas.openxmlformats.org/officeDocument/2006/relationships/image" Target="../media/image49.gif"/><Relationship Id="rId4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iftp@dubna.ru" TargetMode="External"/><Relationship Id="rId1" Type="http://schemas.openxmlformats.org/officeDocument/2006/relationships/slideLayout" Target="../slideLayouts/slideLayout3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diagramLayout" Target="../diagrams/layout1.xml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8.xml"/><Relationship Id="rId6" Type="http://schemas.microsoft.com/office/2007/relationships/diagramDrawing" Target="../diagrams/drawing1.xml"/><Relationship Id="rId11" Type="http://schemas.openxmlformats.org/officeDocument/2006/relationships/image" Target="../media/image12.jpe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diagramColors" Target="../diagrams/colors2.xml"/><Relationship Id="rId12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8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17.emf"/><Relationship Id="rId5" Type="http://schemas.openxmlformats.org/officeDocument/2006/relationships/diagramLayout" Target="../diagrams/layout2.xml"/><Relationship Id="rId10" Type="http://schemas.openxmlformats.org/officeDocument/2006/relationships/image" Target="../media/image16.emf"/><Relationship Id="rId4" Type="http://schemas.openxmlformats.org/officeDocument/2006/relationships/diagramData" Target="../diagrams/data2.xml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2.xml"/><Relationship Id="rId7" Type="http://schemas.openxmlformats.org/officeDocument/2006/relationships/image" Target="../media/image21.jpeg"/><Relationship Id="rId12" Type="http://schemas.openxmlformats.org/officeDocument/2006/relationships/image" Target="../media/image2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11" Type="http://schemas.openxmlformats.org/officeDocument/2006/relationships/image" Target="../media/image25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4.gif"/><Relationship Id="rId4" Type="http://schemas.openxmlformats.org/officeDocument/2006/relationships/slideLayout" Target="../slideLayouts/slideLayout123.xml"/><Relationship Id="rId9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gif"/><Relationship Id="rId1" Type="http://schemas.openxmlformats.org/officeDocument/2006/relationships/slideLayout" Target="../slideLayouts/slideLayout1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23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ext Box 6"/>
          <p:cNvSpPr txBox="1">
            <a:spLocks noChangeArrowheads="1"/>
          </p:cNvSpPr>
          <p:nvPr/>
        </p:nvSpPr>
        <p:spPr bwMode="auto">
          <a:xfrm>
            <a:off x="287338" y="6270625"/>
            <a:ext cx="122396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FontTx/>
              <a:buNone/>
            </a:pPr>
            <a:r>
              <a:rPr lang="ru-RU" altLang="x-none" sz="1800" dirty="0" smtClean="0">
                <a:solidFill>
                  <a:schemeClr val="tx2"/>
                </a:solidFill>
              </a:rPr>
              <a:t>2022 г</a:t>
            </a:r>
            <a:r>
              <a:rPr lang="ru-RU" altLang="x-none" sz="18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3675" y="2999148"/>
            <a:ext cx="8956675" cy="1883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lnSpc>
                <a:spcPct val="130000"/>
              </a:lnSpc>
              <a:defRPr/>
            </a:pPr>
            <a:r>
              <a:rPr lang="ru-RU" sz="2200" dirty="0">
                <a:solidFill>
                  <a:srgbClr val="003274"/>
                </a:solidFill>
                <a:latin typeface="Arial" charset="0"/>
                <a:ea typeface="DejaVu Sans" charset="0"/>
                <a:cs typeface="DejaVu Sans" charset="0"/>
              </a:rPr>
              <a:t>Импортозамещающие полупроводниковые спектрометры рентгеновского и гамма-излучений нового </a:t>
            </a:r>
            <a:r>
              <a:rPr lang="ru-RU" sz="2200" dirty="0" smtClean="0">
                <a:solidFill>
                  <a:srgbClr val="003274"/>
                </a:solidFill>
                <a:latin typeface="Arial" charset="0"/>
                <a:ea typeface="DejaVu Sans" charset="0"/>
                <a:cs typeface="DejaVu Sans" charset="0"/>
              </a:rPr>
              <a:t>поколения</a:t>
            </a:r>
          </a:p>
          <a:p>
            <a:pPr algn="ctr" eaLnBrk="1" hangingPunct="1">
              <a:lnSpc>
                <a:spcPct val="130000"/>
              </a:lnSpc>
              <a:defRPr/>
            </a:pPr>
            <a:endParaRPr lang="ru-RU" sz="2200" dirty="0">
              <a:solidFill>
                <a:srgbClr val="003274"/>
              </a:solidFill>
              <a:latin typeface="Arial" charset="0"/>
              <a:ea typeface="DejaVu Sans" charset="0"/>
              <a:cs typeface="DejaVu Sans" charset="0"/>
            </a:endParaRPr>
          </a:p>
          <a:p>
            <a:pPr algn="ctr" eaLnBrk="1" hangingPunct="1">
              <a:lnSpc>
                <a:spcPct val="130000"/>
              </a:lnSpc>
              <a:defRPr/>
            </a:pPr>
            <a:endParaRPr lang="ru-RU" sz="800" dirty="0" smtClean="0">
              <a:solidFill>
                <a:srgbClr val="003274"/>
              </a:solidFill>
              <a:latin typeface="Arial" charset="0"/>
              <a:ea typeface="DejaVu Sans" charset="0"/>
              <a:cs typeface="DejaVu Sans" charset="0"/>
            </a:endParaRPr>
          </a:p>
          <a:p>
            <a:pPr eaLnBrk="1" hangingPunct="1">
              <a:spcBef>
                <a:spcPts val="500"/>
              </a:spcBef>
              <a:spcAft>
                <a:spcPts val="600"/>
              </a:spcAft>
              <a:defRPr/>
            </a:pP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  <a:ea typeface="+mn-ea"/>
                <a:cs typeface="+mn-cs"/>
              </a:rPr>
              <a:t>Лихачев 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  <a:ea typeface="+mn-ea"/>
                <a:cs typeface="+mn-cs"/>
              </a:rPr>
              <a:t>Г.М.</a:t>
            </a:r>
            <a:endParaRPr lang="ru-RU" sz="1600" dirty="0">
              <a:solidFill>
                <a:schemeClr val="tx2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+mj-lt"/>
              <a:ea typeface="+mn-ea"/>
              <a:cs typeface="+mn-cs"/>
            </a:endParaRPr>
          </a:p>
        </p:txBody>
      </p:sp>
      <p:sp>
        <p:nvSpPr>
          <p:cNvPr id="10243" name="TextShape 1"/>
          <p:cNvSpPr txBox="1">
            <a:spLocks noChangeArrowheads="1"/>
          </p:cNvSpPr>
          <p:nvPr/>
        </p:nvSpPr>
        <p:spPr bwMode="auto">
          <a:xfrm>
            <a:off x="2230438" y="1566863"/>
            <a:ext cx="6726237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Arial" charset="0"/>
                <a:ea typeface="DejaVu Sans" charset="0"/>
                <a:cs typeface="DejaVu Sans" charset="0"/>
              </a:defRPr>
            </a:lvl9pPr>
          </a:lstStyle>
          <a:p>
            <a:pPr eaLnBrk="1" hangingPunct="1">
              <a:lnSpc>
                <a:spcPct val="130000"/>
              </a:lnSpc>
              <a:spcBef>
                <a:spcPct val="0"/>
              </a:spcBef>
              <a:buFontTx/>
              <a:buNone/>
            </a:pPr>
            <a:endParaRPr lang="ru-RU" altLang="x-none" sz="2400" dirty="0">
              <a:solidFill>
                <a:srgbClr val="003274"/>
              </a:solidFill>
            </a:endParaRPr>
          </a:p>
          <a:p>
            <a:pPr eaLnBrk="1" hangingPunct="1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x-none" sz="1600" dirty="0">
                <a:solidFill>
                  <a:srgbClr val="003274"/>
                </a:solidFill>
              </a:rPr>
              <a:t>Акционерное общество «Институт физико-технических проблем»</a:t>
            </a:r>
          </a:p>
          <a:p>
            <a:pPr eaLnBrk="1" hangingPunct="1">
              <a:lnSpc>
                <a:spcPct val="130000"/>
              </a:lnSpc>
              <a:spcBef>
                <a:spcPct val="0"/>
              </a:spcBef>
              <a:buFontTx/>
              <a:buNone/>
            </a:pPr>
            <a:endParaRPr lang="ru-RU" altLang="x-none" sz="2200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846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632199"/>
              </p:ext>
            </p:extLst>
          </p:nvPr>
        </p:nvGraphicFramePr>
        <p:xfrm>
          <a:off x="310968" y="1267759"/>
          <a:ext cx="8556120" cy="4632468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4278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78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3880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Изготавливается в АО «ИФТП»</a:t>
                      </a:r>
                    </a:p>
                  </a:txBody>
                  <a:tcPr marL="84406" marR="84406" marT="42203" marB="42203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Предлагается</a:t>
                      </a:r>
                      <a:r>
                        <a:rPr lang="ru-RU" sz="1700" baseline="0" dirty="0"/>
                        <a:t> к разработке </a:t>
                      </a:r>
                      <a:endParaRPr lang="ru-RU" sz="1700" dirty="0"/>
                    </a:p>
                  </a:txBody>
                  <a:tcPr marL="84406" marR="84406" marT="42203" marB="42203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880">
                <a:tc>
                  <a:txBody>
                    <a:bodyPr/>
                    <a:lstStyle/>
                    <a:p>
                      <a:pPr algn="ctr"/>
                      <a:r>
                        <a:rPr lang="ru-RU" sz="1700" u="sng" kern="1200" dirty="0"/>
                        <a:t>СЕГ-1КП </a:t>
                      </a:r>
                      <a:endParaRPr lang="ru-RU" sz="1700" b="1" i="0" u="sng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u="sng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ЕГ-5КП</a:t>
                      </a:r>
                      <a:r>
                        <a:rPr lang="ru-RU" sz="1700" dirty="0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6240"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</a:txBody>
                  <a:tcPr marL="84406" marR="84406" marT="42203" marB="42203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8468">
                <a:tc>
                  <a:txBody>
                    <a:bodyPr/>
                    <a:lstStyle/>
                    <a:p>
                      <a:r>
                        <a:rPr lang="ru-RU" sz="1100" dirty="0"/>
                        <a:t>Недостатки: 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1100" dirty="0" smtClean="0"/>
                        <a:t>Высокая стоимость</a:t>
                      </a:r>
                    </a:p>
                    <a:p>
                      <a:pPr marL="171450" indent="-171450" algn="just">
                        <a:buFontTx/>
                        <a:buChar char="-"/>
                      </a:pPr>
                      <a:r>
                        <a:rPr lang="ru-RU" sz="1100" dirty="0" smtClean="0"/>
                        <a:t>Отсутствие</a:t>
                      </a:r>
                      <a:r>
                        <a:rPr lang="ru-RU" sz="1100" baseline="0" dirty="0" smtClean="0"/>
                        <a:t> в России изготовителя особо чистого германия</a:t>
                      </a:r>
                      <a:endParaRPr lang="ru-RU" sz="11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dirty="0"/>
                        <a:t>Преимущества: </a:t>
                      </a:r>
                    </a:p>
                    <a:p>
                      <a:pPr algn="just"/>
                      <a:r>
                        <a:rPr lang="ru-RU" sz="1100" dirty="0"/>
                        <a:t>- Относительно</a:t>
                      </a:r>
                      <a:r>
                        <a:rPr lang="ru-RU" sz="1100" baseline="0" dirty="0"/>
                        <a:t> н</a:t>
                      </a:r>
                      <a:r>
                        <a:rPr lang="ru-RU" sz="1100" dirty="0"/>
                        <a:t>изкая</a:t>
                      </a:r>
                      <a:r>
                        <a:rPr lang="ru-RU" sz="1100" baseline="0" dirty="0"/>
                        <a:t> стоимость</a:t>
                      </a:r>
                    </a:p>
                    <a:p>
                      <a:pPr algn="just"/>
                      <a:r>
                        <a:rPr lang="ru-RU" sz="1100" baseline="0" dirty="0"/>
                        <a:t>- Возможность изготавливать из отечественного сырья</a:t>
                      </a:r>
                    </a:p>
                    <a:p>
                      <a:pPr algn="just"/>
                      <a:r>
                        <a:rPr lang="ru-RU" sz="1100" b="0" baseline="0" dirty="0"/>
                        <a:t>Недостатки:</a:t>
                      </a:r>
                    </a:p>
                    <a:p>
                      <a:pPr algn="just"/>
                      <a:r>
                        <a:rPr lang="ru-RU" sz="1100" baseline="0" dirty="0"/>
                        <a:t>- Требует постоянного нахождения в жидком азоте</a:t>
                      </a:r>
                      <a:endParaRPr lang="ru-RU" sz="11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" name="Picture 2" descr="2"/>
          <p:cNvPicPr>
            <a:picLocks noChangeAspect="1" noChangeArrowheads="1"/>
          </p:cNvPicPr>
          <p:nvPr/>
        </p:nvPicPr>
        <p:blipFill rotWithShape="1">
          <a:blip r:embed="rId7" cstate="print"/>
          <a:srcRect r="864" b="7010"/>
          <a:stretch/>
        </p:blipFill>
        <p:spPr bwMode="auto">
          <a:xfrm>
            <a:off x="535555" y="2054929"/>
            <a:ext cx="3636057" cy="2899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11" name="Picture 2" descr="E:\Документы\01 Лаборатория\Модернизация, развитие\2019-11-07 Редизайн линейки ОЧГ\Ge(li)\СЕГ-1КП(2) - копия.gif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733392" y="2116102"/>
            <a:ext cx="2129254" cy="2532186"/>
          </a:xfrm>
          <a:prstGeom prst="rect">
            <a:avLst/>
          </a:prstGeom>
          <a:noFill/>
        </p:spPr>
      </p:pic>
      <p:pic>
        <p:nvPicPr>
          <p:cNvPr id="12" name="Picture 3" descr="E:\Документы\01 Лаборатория\Модернизация, развитие\2019-11-07 Редизайн линейки ОЧГ\Ge(li)\Кристалл Ge(Li).gif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42571" y="2150892"/>
            <a:ext cx="1855177" cy="998806"/>
          </a:xfrm>
          <a:prstGeom prst="rect">
            <a:avLst/>
          </a:prstGeom>
          <a:noFill/>
        </p:spPr>
      </p:pic>
      <p:pic>
        <p:nvPicPr>
          <p:cNvPr id="13" name="Picture 1" descr="E:\Документы\01 Лаборатория\Модернизация, развитие\2019-11-07 Редизайн линейки ОЧГ\Ge(li)\Кристалл 3D.gif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47552" y="3228829"/>
            <a:ext cx="1945540" cy="1649143"/>
          </a:xfrm>
          <a:prstGeom prst="rect">
            <a:avLst/>
          </a:prstGeom>
          <a:noFill/>
        </p:spPr>
      </p:pic>
      <p:sp>
        <p:nvSpPr>
          <p:cNvPr id="14" name="Rectangle 29"/>
          <p:cNvSpPr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x-none" sz="2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ЕГ-5КП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3999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11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442991" y="277341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Техническое перевооружение для </a:t>
            </a:r>
            <a:r>
              <a:rPr lang="en-US" sz="2000" dirty="0" smtClean="0">
                <a:solidFill>
                  <a:schemeClr val="tx2"/>
                </a:solidFill>
              </a:rPr>
              <a:t>Ge(Li)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2590080"/>
            <a:ext cx="3582310" cy="368398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60408"/>
            <a:ext cx="4623259" cy="3459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Стрелка вправо 5"/>
          <p:cNvSpPr/>
          <p:nvPr/>
        </p:nvSpPr>
        <p:spPr>
          <a:xfrm>
            <a:off x="4637727" y="3659925"/>
            <a:ext cx="786581" cy="6980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12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442991" y="277341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Магнетронная установка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7278" y="2098751"/>
            <a:ext cx="3823847" cy="427513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22" y="1133475"/>
            <a:ext cx="4661178" cy="26206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Стрелка вправо 5"/>
          <p:cNvSpPr/>
          <p:nvPr/>
        </p:nvSpPr>
        <p:spPr>
          <a:xfrm>
            <a:off x="4483509" y="3442337"/>
            <a:ext cx="786581" cy="6980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59013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13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442991" y="277341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Модернизация магнетронной установки для напыления иттрия, с целью создания широкополосного блока детектирования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447" y="3417609"/>
            <a:ext cx="8518028" cy="292109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54" t="1833" r="11459" b="19374"/>
          <a:stretch/>
        </p:blipFill>
        <p:spPr>
          <a:xfrm>
            <a:off x="1304924" y="1096304"/>
            <a:ext cx="2801595" cy="22115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92" t="15894" r="11459" b="2390"/>
          <a:stretch/>
        </p:blipFill>
        <p:spPr>
          <a:xfrm>
            <a:off x="5467350" y="1127677"/>
            <a:ext cx="2362200" cy="21802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78360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14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442991" y="277341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Макетные </a:t>
            </a:r>
            <a:r>
              <a:rPr lang="ru-RU" sz="2000" dirty="0">
                <a:solidFill>
                  <a:schemeClr val="tx2"/>
                </a:solidFill>
              </a:rPr>
              <a:t>образцы </a:t>
            </a:r>
            <a:r>
              <a:rPr lang="ru-RU" sz="2000" dirty="0" smtClean="0">
                <a:solidFill>
                  <a:schemeClr val="tx2"/>
                </a:solidFill>
              </a:rPr>
              <a:t>СЕГ-4КП </a:t>
            </a:r>
            <a:r>
              <a:rPr lang="ru-RU" sz="2000" dirty="0">
                <a:solidFill>
                  <a:schemeClr val="tx2"/>
                </a:solidFill>
              </a:rPr>
              <a:t>и СЕГ-ГЗ-5КП 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3" r="22684" b="29372"/>
          <a:stretch/>
        </p:blipFill>
        <p:spPr>
          <a:xfrm>
            <a:off x="442990" y="1028753"/>
            <a:ext cx="3005059" cy="5288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724" y="1658451"/>
            <a:ext cx="5372101" cy="40290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921393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8" r="5416"/>
          <a:stretch/>
        </p:blipFill>
        <p:spPr>
          <a:xfrm>
            <a:off x="5302374" y="2238374"/>
            <a:ext cx="3393952" cy="23526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15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442991" y="277341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Макетные </a:t>
            </a:r>
            <a:r>
              <a:rPr lang="ru-RU" sz="2000" dirty="0">
                <a:solidFill>
                  <a:schemeClr val="tx2"/>
                </a:solidFill>
              </a:rPr>
              <a:t>образцы СЕР-2КП и СЕГ-5КП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07" y="1906313"/>
            <a:ext cx="4771718" cy="35705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7668" y="4145538"/>
            <a:ext cx="2922507" cy="21868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248" y="1009623"/>
            <a:ext cx="1504786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1518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03" name="Text Box 11"/>
          <p:cNvSpPr txBox="1">
            <a:spLocks noChangeArrowheads="1"/>
          </p:cNvSpPr>
          <p:nvPr/>
        </p:nvSpPr>
        <p:spPr bwMode="auto">
          <a:xfrm>
            <a:off x="1457325" y="5252138"/>
            <a:ext cx="6734175" cy="97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141980 г. Дубна  Московской обл.   ул</a:t>
            </a:r>
            <a:r>
              <a:rPr lang="ru-RU" altLang="x-none" sz="1600" b="0" dirty="0" smtClean="0">
                <a:solidFill>
                  <a:schemeClr val="tx2"/>
                </a:solidFill>
                <a:latin typeface="+mn-lt"/>
              </a:rPr>
              <a:t>. Курчатова </a:t>
            </a: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4, </a:t>
            </a:r>
            <a:r>
              <a:rPr lang="ru-RU" altLang="x-none" sz="1600" b="0" dirty="0" smtClean="0">
                <a:solidFill>
                  <a:schemeClr val="tx2"/>
                </a:solidFill>
                <a:latin typeface="+mn-lt"/>
              </a:rPr>
              <a:t> АО «ИФТП» </a:t>
            </a:r>
            <a:endParaRPr lang="ru-RU" altLang="x-none" sz="1600" b="0" dirty="0">
              <a:solidFill>
                <a:schemeClr val="tx2"/>
              </a:solidFill>
              <a:latin typeface="+mn-lt"/>
            </a:endParaRPr>
          </a:p>
          <a:p>
            <a:pPr algn="ctr" eaLnBrk="1" hangingPunct="1">
              <a:lnSpc>
                <a:spcPct val="120000"/>
              </a:lnSpc>
            </a:pP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тел.: /49621</a:t>
            </a:r>
            <a:r>
              <a:rPr lang="ru-RU" altLang="x-none" sz="1600" b="0">
                <a:solidFill>
                  <a:schemeClr val="tx2"/>
                </a:solidFill>
                <a:latin typeface="+mn-lt"/>
              </a:rPr>
              <a:t>/ </a:t>
            </a:r>
            <a:r>
              <a:rPr lang="ru-RU" altLang="x-none" sz="1600" b="0" smtClean="0">
                <a:solidFill>
                  <a:schemeClr val="tx2"/>
                </a:solidFill>
                <a:latin typeface="+mn-lt"/>
              </a:rPr>
              <a:t>70645  </a:t>
            </a: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факс: 65082</a:t>
            </a:r>
          </a:p>
          <a:p>
            <a:pPr algn="ctr" eaLnBrk="1" hangingPunct="1">
              <a:lnSpc>
                <a:spcPct val="120000"/>
              </a:lnSpc>
            </a:pPr>
            <a:r>
              <a:rPr lang="ru-RU" altLang="x-none" sz="1600" b="0" dirty="0" err="1">
                <a:solidFill>
                  <a:schemeClr val="tx2"/>
                </a:solidFill>
                <a:latin typeface="+mn-lt"/>
              </a:rPr>
              <a:t>E-mail</a:t>
            </a: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:  </a:t>
            </a:r>
            <a:r>
              <a:rPr lang="en-US" altLang="x-none" sz="1600" b="0" dirty="0">
                <a:solidFill>
                  <a:schemeClr val="tx2"/>
                </a:solidFill>
                <a:latin typeface="+mn-lt"/>
                <a:hlinkClick r:id="rId2"/>
              </a:rPr>
              <a:t>iftp@dubna.ru</a:t>
            </a:r>
            <a:r>
              <a:rPr lang="ru-RU" altLang="x-none" sz="1600" b="0" dirty="0">
                <a:solidFill>
                  <a:schemeClr val="tx2"/>
                </a:solidFill>
                <a:latin typeface="+mn-lt"/>
              </a:rPr>
              <a:t>      </a:t>
            </a:r>
            <a:r>
              <a:rPr lang="en-US" altLang="x-none" sz="1600" b="0" dirty="0" err="1">
                <a:solidFill>
                  <a:schemeClr val="tx2"/>
                </a:solidFill>
                <a:latin typeface="+mn-lt"/>
              </a:rPr>
              <a:t>www.iftp.ru</a:t>
            </a:r>
            <a:endParaRPr lang="ru-RU" altLang="x-none" sz="1600" b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7589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8267700" y="6400800"/>
            <a:ext cx="8763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fld id="{7DF2C2F4-053A-DF48-80CC-394A32373A35}" type="slidenum">
              <a:rPr lang="ru-RU" altLang="x-none">
                <a:solidFill>
                  <a:srgbClr val="001E5B"/>
                </a:solidFill>
              </a:rPr>
              <a:pPr/>
              <a:t>16</a:t>
            </a:fld>
            <a:endParaRPr lang="ru-RU" altLang="x-none" dirty="0">
              <a:solidFill>
                <a:srgbClr val="001E5B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7572" y="2372810"/>
            <a:ext cx="70077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0" dirty="0" smtClean="0">
                <a:solidFill>
                  <a:schemeClr val="tx2"/>
                </a:solidFill>
                <a:latin typeface="+mj-lt"/>
              </a:rPr>
              <a:t>Благодарю за внимание!</a:t>
            </a:r>
            <a:endParaRPr lang="ru-RU" sz="4400" b="0" dirty="0">
              <a:solidFill>
                <a:schemeClr val="tx2"/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7000"/>
    </mc:Choice>
    <mc:Fallback xmlns="">
      <p:transition advTm="7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261311160"/>
              </p:ext>
            </p:extLst>
          </p:nvPr>
        </p:nvGraphicFramePr>
        <p:xfrm>
          <a:off x="-1066800" y="0"/>
          <a:ext cx="1099185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2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596900" y="268288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x-none" sz="2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АО «СНИИП» и АО «ИФТП»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7" name="Picture 5" descr="D:\Системное\Рабочий стол\2020-02-03 ИФТП (работа на дому\Карта\ИФТП 0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41970" y="4020657"/>
            <a:ext cx="3636096" cy="181804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Прямоугольник 7"/>
          <p:cNvSpPr/>
          <p:nvPr/>
        </p:nvSpPr>
        <p:spPr>
          <a:xfrm>
            <a:off x="422636" y="5103246"/>
            <a:ext cx="260844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000" b="1" dirty="0" smtClean="0">
                <a:solidFill>
                  <a:schemeClr val="dk1"/>
                </a:solidFill>
              </a:rPr>
              <a:t>АО «ИФТП»</a:t>
            </a:r>
            <a:endParaRPr lang="ru-RU" sz="3000" b="1" dirty="0">
              <a:solidFill>
                <a:srgbClr val="FF0000"/>
              </a:solidFill>
              <a:latin typeface="Arial" charset="0"/>
            </a:endParaRPr>
          </a:p>
        </p:txBody>
      </p:sp>
      <p:pic>
        <p:nvPicPr>
          <p:cNvPr id="9" name="Picture 2" descr="D:\Документы\01 Лаборатория\Презентация\2018-10-11 в Обнинск\ИФТП\image001.g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85142" y="4211131"/>
            <a:ext cx="1087755" cy="815816"/>
          </a:xfrm>
          <a:prstGeom prst="rect">
            <a:avLst/>
          </a:prstGeom>
          <a:noFill/>
          <a:scene3d>
            <a:camera prst="obliqueTopRight"/>
            <a:lightRig rig="threePt" dir="t"/>
          </a:scene3d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491" y="1556637"/>
            <a:ext cx="3209834" cy="23458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587" y="2148670"/>
            <a:ext cx="2952326" cy="12680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894" y="3268272"/>
            <a:ext cx="2093400" cy="12460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429" y="4408349"/>
            <a:ext cx="2069571" cy="13703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10746" y="6480175"/>
            <a:ext cx="933254" cy="377825"/>
          </a:xfrm>
        </p:spPr>
        <p:txBody>
          <a:bodyPr/>
          <a:lstStyle/>
          <a:p>
            <a:fld id="{42B6B8E9-466D-654D-A40E-0B91A36EBD43}" type="slidenum">
              <a:rPr lang="ru-RU" altLang="x-none" smtClean="0"/>
              <a:pPr/>
              <a:t>3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596900" y="268288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x-none" sz="20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Возможности АО «ИФТП»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9224" name="Picture 8" descr="D:\Документы\01 Лаборатория\Презентация\2018-10-11 в Обнинск\ОЧГ\Разработка\01\Кристалл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65162"/>
            <a:ext cx="1638677" cy="1977905"/>
          </a:xfrm>
          <a:prstGeom prst="rect">
            <a:avLst/>
          </a:prstGeom>
          <a:noFill/>
        </p:spPr>
      </p:pic>
      <p:graphicFrame>
        <p:nvGraphicFramePr>
          <p:cNvPr id="12" name="Схема 11"/>
          <p:cNvGraphicFramePr/>
          <p:nvPr/>
        </p:nvGraphicFramePr>
        <p:xfrm>
          <a:off x="-597530" y="1104523"/>
          <a:ext cx="5468293" cy="40016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3000" y="4267947"/>
            <a:ext cx="3051000" cy="19290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0"/>
          <a:srcRect l="25284" r="29188"/>
          <a:stretch/>
        </p:blipFill>
        <p:spPr>
          <a:xfrm>
            <a:off x="6785062" y="2142649"/>
            <a:ext cx="1666875" cy="23606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1"/>
          <a:srcRect l="30522" r="18747"/>
          <a:stretch/>
        </p:blipFill>
        <p:spPr>
          <a:xfrm>
            <a:off x="5325007" y="1057534"/>
            <a:ext cx="1857375" cy="22654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2" descr="Модификации"/>
          <p:cNvPicPr>
            <a:picLocks noChangeAspect="1" noChangeArrowheads="1"/>
          </p:cNvPicPr>
          <p:nvPr/>
        </p:nvPicPr>
        <p:blipFill>
          <a:blip r:embed="rId12">
            <a:lum contrast="54000"/>
          </a:blip>
          <a:srcRect/>
          <a:stretch>
            <a:fillRect/>
          </a:stretch>
        </p:blipFill>
        <p:spPr bwMode="auto">
          <a:xfrm>
            <a:off x="217754" y="4267947"/>
            <a:ext cx="5875245" cy="1922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8" name="Picture 2" descr="D:\Документы\01 Лаборатория\Презентация\2018-10-11 в Обнинск\ОЧГ\01\ОЧГ 0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50296" y="1104523"/>
            <a:ext cx="1215974" cy="111928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4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596900" y="268288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Модельный ряд блоков детектирования на основе коаксиальных кристаллов ОЧГ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graphicFrame>
        <p:nvGraphicFramePr>
          <p:cNvPr id="7" name="Group 1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759235"/>
              </p:ext>
            </p:extLst>
          </p:nvPr>
        </p:nvGraphicFramePr>
        <p:xfrm>
          <a:off x="244443" y="1113577"/>
          <a:ext cx="8718489" cy="50141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6364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03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76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93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93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35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17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19153">
                <a:tc row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Тип блок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етектирования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row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Эффек-тивность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к </a:t>
                      </a:r>
                      <a:r>
                        <a:rPr kumimoji="0" lang="en-US" altLang="x-none" sz="1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NaJ</a:t>
                      </a:r>
                      <a:endParaRPr kumimoji="0" lang="ru-RU" altLang="x-none" sz="1400" u="none" strike="noStrike" cap="none" normalizeH="0" baseline="0" dirty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(3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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)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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, %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 grid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Энергетическое разрешение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Отношени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пик/</a:t>
                      </a:r>
                      <a:r>
                        <a:rPr kumimoji="0" lang="ru-RU" altLang="x-none" sz="1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комптон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grid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Форма пика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31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22 кэ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(эВ)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,33 Мэ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(кэВ)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</a:rPr>
                        <a:t>FW</a:t>
                      </a: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</a:t>
                      </a:r>
                      <a:r>
                        <a:rPr kumimoji="0" lang="ru-RU" altLang="x-none" sz="1400" u="sng" strike="noStrike" cap="none" normalizeH="0" baseline="0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M</a:t>
                      </a:r>
                      <a:endParaRPr kumimoji="0" lang="ru-RU" altLang="x-none" sz="1400" u="none" strike="noStrike" cap="none" normalizeH="0" baseline="0">
                        <a:ln>
                          <a:noFill/>
                        </a:ln>
                        <a:effectLst/>
                        <a:sym typeface="Symbol" charset="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FWHM</a:t>
                      </a:r>
                      <a:endParaRPr kumimoji="0" lang="en-US" altLang="x-none" sz="1400" b="1" i="0" u="sng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</a:rPr>
                        <a:t>FW</a:t>
                      </a: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</a:t>
                      </a: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</a:rPr>
                        <a:t>02M</a:t>
                      </a:r>
                      <a:endParaRPr kumimoji="0" lang="ru-RU" altLang="x-none" sz="1400" u="none" strike="noStrike" cap="none" normalizeH="0" baseline="0">
                        <a:ln>
                          <a:noFill/>
                        </a:ln>
                        <a:effectLst/>
                        <a:sym typeface="Symbol" charset="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en-US" altLang="x-none" sz="1400" u="sng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FWHM</a:t>
                      </a:r>
                      <a:endParaRPr kumimoji="0" lang="en-US" altLang="x-none" sz="1400" b="1" i="0" u="sng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10.17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82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7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41:1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.9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6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13.1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3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00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9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15.18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82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.8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6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6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20.18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85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.8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8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6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25.1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.9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50:1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30.1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54:1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35.2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6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40.2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8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45.2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60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50.2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62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9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55.2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2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64: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.0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892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Г-60.2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2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66:1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.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.0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6B8E9-466D-654D-A40E-0B91A36EBD43}" type="slidenum">
              <a:rPr lang="ru-RU" altLang="x-none" smtClean="0"/>
              <a:pPr/>
              <a:t>5</a:t>
            </a:fld>
            <a:endParaRPr lang="ru-RU" altLang="x-none" dirty="0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596900" y="268288"/>
            <a:ext cx="76708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Блоки детектирования на основе планарных ОЧГ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graphicFrame>
        <p:nvGraphicFramePr>
          <p:cNvPr id="5" name="Group 116"/>
          <p:cNvGraphicFramePr>
            <a:graphicFrameLocks noGrp="1"/>
          </p:cNvGraphicFramePr>
          <p:nvPr/>
        </p:nvGraphicFramePr>
        <p:xfrm>
          <a:off x="248876" y="1321796"/>
          <a:ext cx="8623519" cy="424020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9861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62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09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38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88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06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46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18775">
                <a:tc rowSpan="2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Тип блока детектирования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gridSpan="3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Размеры детектора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Энергетическое разрешение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1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иамет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(мм)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Площадь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(см</a:t>
                      </a:r>
                      <a:r>
                        <a:rPr kumimoji="0" lang="ru-RU" altLang="x-none" sz="1400" u="none" strike="noStrike" cap="none" normalizeH="0" baseline="30000">
                          <a:ln>
                            <a:noFill/>
                          </a:ln>
                          <a:effectLst/>
                        </a:rPr>
                        <a:t>2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)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Толщин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(мм)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ля 5,9 кэ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(эВ)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для 122 кэ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(эВ)</a:t>
                      </a:r>
                      <a:endParaRPr kumimoji="0" lang="ru-RU" altLang="x-non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для 1333 кэ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(кэВ)</a:t>
                      </a:r>
                      <a:endParaRPr kumimoji="0" lang="ru-RU" altLang="x-none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02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2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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8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05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7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8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1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7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9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2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7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2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1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3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9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0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3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25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3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5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10 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13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32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6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8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2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3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6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9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–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10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36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3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5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63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15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44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5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7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55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78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,9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8775"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БДЕР-Г-7К-20-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15 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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 17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70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>
                          <a:ln>
                            <a:noFill/>
                          </a:ln>
                          <a:effectLst/>
                        </a:rPr>
                        <a:t>900</a:t>
                      </a:r>
                      <a:endParaRPr kumimoji="0" lang="ru-RU" altLang="x-none" sz="14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110000"/>
                        </a:lnSpc>
                        <a:spcBef>
                          <a:spcPct val="40000"/>
                        </a:spcBef>
                        <a:spcAft>
                          <a:spcPct val="20000"/>
                        </a:spcAft>
                        <a:defRPr sz="14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lnSpc>
                          <a:spcPct val="110000"/>
                        </a:lnSpc>
                        <a:spcAft>
                          <a:spcPct val="20000"/>
                        </a:spcAft>
                        <a:defRPr sz="12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Aft>
                          <a:spcPct val="30000"/>
                        </a:spcAft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90000"/>
                        <a:buFont typeface="Wingdings" charset="2"/>
                        <a:buNone/>
                        <a:tabLst/>
                      </a:pP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  <a:sym typeface="Symbol" charset="2"/>
                        </a:rPr>
                        <a:t></a:t>
                      </a:r>
                      <a:r>
                        <a:rPr kumimoji="0" lang="ru-RU" altLang="x-none" sz="1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2,0</a:t>
                      </a:r>
                      <a:endParaRPr kumimoji="0" lang="ru-RU" altLang="x-non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charset="0"/>
                        <a:ea typeface="Times New Roman" charset="0"/>
                        <a:cs typeface="Times New Roman" charset="0"/>
                        <a:sym typeface="Symbol" charset="2"/>
                      </a:endParaRPr>
                    </a:p>
                  </a:txBody>
                  <a:tcPr marL="90000" marR="90000" marT="46800" marB="46800" anchor="ctr" horzOverflow="overflow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3219" y="1226000"/>
            <a:ext cx="860098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ом ИП должно стать </a:t>
            </a:r>
            <a:r>
              <a:rPr lang="ru-RU" dirty="0" err="1"/>
              <a:t>сертифицирование</a:t>
            </a:r>
            <a:r>
              <a:rPr lang="ru-RU" dirty="0"/>
              <a:t> разработанных (модернизированных) средств измерения на базе детекторов ОЧГ:</a:t>
            </a:r>
          </a:p>
          <a:p>
            <a:endParaRPr lang="ru-RU" dirty="0"/>
          </a:p>
          <a:p>
            <a:r>
              <a:rPr lang="ru-RU" dirty="0"/>
              <a:t>- </a:t>
            </a:r>
            <a:r>
              <a:rPr lang="ru-RU" u="sng" dirty="0"/>
              <a:t>СЕГ-4КП</a:t>
            </a:r>
            <a:r>
              <a:rPr lang="ru-RU" dirty="0"/>
              <a:t> - модернизация кристалла и криостата изделия СЕГ-1КП, в состав которого входит криостат погружного типа. Его в СЕГ-4КП предлагается модернизировать в тропический </a:t>
            </a:r>
            <a:r>
              <a:rPr lang="ru-RU" dirty="0" smtClean="0"/>
              <a:t>вариант;</a:t>
            </a:r>
            <a:endParaRPr lang="ru-RU" dirty="0"/>
          </a:p>
          <a:p>
            <a:endParaRPr lang="ru-RU" dirty="0"/>
          </a:p>
          <a:p>
            <a:r>
              <a:rPr lang="ru-RU" dirty="0"/>
              <a:t>- </a:t>
            </a:r>
            <a:r>
              <a:rPr lang="ru-RU" u="sng" dirty="0"/>
              <a:t>СЕГ-ГЗ-5КП</a:t>
            </a:r>
            <a:r>
              <a:rPr lang="ru-RU" dirty="0"/>
              <a:t> - модернизация газо-криогенной машины (ГКМ) </a:t>
            </a:r>
            <a:r>
              <a:rPr lang="ru-RU" dirty="0" smtClean="0"/>
              <a:t>СЕГ-ГЗ-4К </a:t>
            </a:r>
            <a:r>
              <a:rPr lang="ru-RU" dirty="0"/>
              <a:t>с целью более стабильной и бесперебойной работы. </a:t>
            </a:r>
          </a:p>
          <a:p>
            <a:endParaRPr lang="ru-RU" dirty="0"/>
          </a:p>
          <a:p>
            <a:r>
              <a:rPr lang="ru-RU" dirty="0"/>
              <a:t>- </a:t>
            </a:r>
            <a:r>
              <a:rPr lang="ru-RU" u="sng" dirty="0"/>
              <a:t>СЕГ-5КП</a:t>
            </a:r>
            <a:r>
              <a:rPr lang="ru-RU" dirty="0"/>
              <a:t> – восстановление потерянной технологии изготовления германий – литиевых кристаллов (</a:t>
            </a:r>
            <a:r>
              <a:rPr lang="en-US" dirty="0"/>
              <a:t>Ge(Li))</a:t>
            </a:r>
            <a:r>
              <a:rPr lang="ru-RU" dirty="0"/>
              <a:t>, сопоставимых по параметрам с ОЧГ, но более низких по стоимости.</a:t>
            </a:r>
          </a:p>
          <a:p>
            <a:endParaRPr lang="ru-RU" dirty="0"/>
          </a:p>
          <a:p>
            <a:r>
              <a:rPr lang="ru-RU" dirty="0"/>
              <a:t>- </a:t>
            </a:r>
            <a:r>
              <a:rPr lang="ru-RU" u="sng" dirty="0"/>
              <a:t>СЕР-2КП</a:t>
            </a:r>
            <a:r>
              <a:rPr lang="ru-RU" dirty="0"/>
              <a:t> - модернизация СЕР-1КП на безе БДЕР-Г-7К (основой детектора является кристалл ОЧГ планарной конструкции) в части замены кристалла на низкоэнергетический и широкополосный (</a:t>
            </a:r>
            <a:r>
              <a:rPr lang="ru-RU" dirty="0" err="1"/>
              <a:t>LeGe</a:t>
            </a:r>
            <a:r>
              <a:rPr lang="ru-RU" dirty="0"/>
              <a:t>, </a:t>
            </a:r>
            <a:r>
              <a:rPr lang="ru-RU" dirty="0" err="1"/>
              <a:t>квазиполусфера</a:t>
            </a:r>
            <a:r>
              <a:rPr lang="ru-RU" dirty="0"/>
              <a:t>).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6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6" name="Rectangle 29"/>
          <p:cNvSpPr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Концепция инвестиционного мероприятия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9681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846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216696"/>
              </p:ext>
            </p:extLst>
          </p:nvPr>
        </p:nvGraphicFramePr>
        <p:xfrm>
          <a:off x="410197" y="1396999"/>
          <a:ext cx="8345956" cy="47447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4172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29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7625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Изготавливается в АО «ИФТП»</a:t>
                      </a:r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kern="1200" dirty="0"/>
                        <a:t>Предлагаемые к разработке</a:t>
                      </a:r>
                      <a:endParaRPr lang="ru-RU" sz="17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6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u="sng" kern="1200" dirty="0"/>
                        <a:t>СЕГ-1КП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305" marR="63305" marT="0" marB="0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u="sng" dirty="0"/>
                        <a:t>СЕГ-4КП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4406" marR="84406" marT="42203" marB="42203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1656">
                <a:tc>
                  <a:txBody>
                    <a:bodyPr/>
                    <a:lstStyle/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  <a:p>
                      <a:endParaRPr lang="ru-RU" sz="17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092">
                <a:tc>
                  <a:txBody>
                    <a:bodyPr/>
                    <a:lstStyle/>
                    <a:p>
                      <a:r>
                        <a:rPr lang="ru-RU" sz="1100" dirty="0"/>
                        <a:t>Недостатки: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АО</a:t>
                      </a:r>
                      <a:r>
                        <a:rPr lang="ru-RU" sz="1100" baseline="0" dirty="0"/>
                        <a:t> «ИФТП» предлагает </a:t>
                      </a:r>
                      <a:r>
                        <a:rPr lang="ru-RU" sz="1100" kern="1200" baseline="0" dirty="0"/>
                        <a:t>блок детектирования с </a:t>
                      </a:r>
                      <a:r>
                        <a:rPr lang="ru-RU" sz="1100" baseline="0" dirty="0"/>
                        <a:t>к</a:t>
                      </a:r>
                      <a:r>
                        <a:rPr lang="ru-RU" sz="1100" dirty="0"/>
                        <a:t>риостатами</a:t>
                      </a:r>
                      <a:r>
                        <a:rPr lang="ru-RU" sz="1100" baseline="0" dirty="0"/>
                        <a:t> п</a:t>
                      </a:r>
                      <a:r>
                        <a:rPr lang="ru-RU" sz="1100" dirty="0"/>
                        <a:t>огружного типа для эксплуатации только в лабораторных условиях, в состав которого входит</a:t>
                      </a:r>
                      <a:r>
                        <a:rPr lang="ru-RU" sz="1100" baseline="0" dirty="0"/>
                        <a:t> кристалл коаксиальной конструкции</a:t>
                      </a:r>
                      <a:r>
                        <a:rPr lang="ru-RU" sz="1100" dirty="0"/>
                        <a:t> эффективностью 10% - 60% для регистрации преимущественно гама-излучения</a:t>
                      </a:r>
                      <a:r>
                        <a:rPr lang="ru-RU" sz="1100" baseline="0" dirty="0"/>
                        <a:t> от 50 кэВ.</a:t>
                      </a:r>
                      <a:endParaRPr lang="ru-RU" sz="1700" dirty="0">
                        <a:latin typeface="+mn-lt"/>
                      </a:endParaRPr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реимущества: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/>
                        <a:t>Разработка </a:t>
                      </a:r>
                      <a:r>
                        <a:rPr lang="ru-RU" sz="1100" baseline="0" dirty="0"/>
                        <a:t>к</a:t>
                      </a:r>
                      <a:r>
                        <a:rPr lang="ru-RU" sz="1100" dirty="0"/>
                        <a:t>риостатов</a:t>
                      </a:r>
                      <a:r>
                        <a:rPr lang="ru-RU" sz="1100" baseline="0" dirty="0"/>
                        <a:t> п</a:t>
                      </a:r>
                      <a:r>
                        <a:rPr lang="ru-RU" sz="1100" dirty="0"/>
                        <a:t>огружного типа для эксплуатации в экстремальных</a:t>
                      </a:r>
                      <a:r>
                        <a:rPr lang="ru-RU" sz="1100" baseline="0" dirty="0"/>
                        <a:t> тропических условиях, что позволят расширить применение </a:t>
                      </a:r>
                      <a:r>
                        <a:rPr lang="ru-RU" sz="1100" kern="1200" baseline="0" dirty="0"/>
                        <a:t>блока детектирования </a:t>
                      </a:r>
                      <a:r>
                        <a:rPr lang="ru-RU" sz="1100" baseline="0" dirty="0"/>
                        <a:t> и спектрометров на их основе, а также изготавливать экспортные варианты.</a:t>
                      </a:r>
                      <a:endParaRPr lang="ru-RU" sz="1100" baseline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4406" marR="84406" marT="42203" marB="42203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41678" name="Picture 14" descr="E:\Документы\01 Лаборатория\Модернизация, развитие\2019-11-07 Редизайн линейки ОЧГ\Разное\Фото\213390_taiti_-palmy_-leto_-tropiki_1280x1024_www.Gde-Fon.com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62" r="-1721"/>
          <a:stretch>
            <a:fillRect/>
          </a:stretch>
        </p:blipFill>
        <p:spPr bwMode="auto">
          <a:xfrm>
            <a:off x="5212080" y="2096361"/>
            <a:ext cx="3263705" cy="16561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Рисунок 20" descr="E:\Документы\01 Лаборатория\Фото для Каталога ИФТП (СНИИП)\стр. 20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0474" y="2049215"/>
            <a:ext cx="776219" cy="17103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1677" name="Picture 13" descr="E:\Фото и видео\Фото и видео\Желтый дом\2015_01_20 Лаборатория\IMG_286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4014" y="2124254"/>
            <a:ext cx="1676379" cy="25145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 descr="E:\Документы\01 Лаборатория\Презентация\2019-07-25 Крым (начало)\ОЧГ\ОЧГ 01.gif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9790" y="2627782"/>
            <a:ext cx="1468819" cy="1434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Номер слайда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7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13" name="Рисунок 12" descr="F:\!!!! ИФТП\Презентация\Пассиваця германия\Кристалл 2.jpg"/>
          <p:cNvPicPr/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01294" y="3771381"/>
            <a:ext cx="893776" cy="968586"/>
          </a:xfrm>
          <a:prstGeom prst="rect">
            <a:avLst/>
          </a:prstGeom>
          <a:noFill/>
        </p:spPr>
      </p:pic>
      <p:pic>
        <p:nvPicPr>
          <p:cNvPr id="14" name="Рисунок 13" descr="E:\Документы\01 Лаборатория\Презентация\2018-08-09 по Лаборатории\Пассиваця германия\KOMPAS - Фрагмент - копия (ReGe).jpg"/>
          <p:cNvPicPr/>
          <p:nvPr/>
        </p:nvPicPr>
        <p:blipFill>
          <a:blip r:embed="rId12" cstate="print"/>
          <a:srcRect t="16923" b="13077"/>
          <a:stretch>
            <a:fillRect/>
          </a:stretch>
        </p:blipFill>
        <p:spPr bwMode="auto">
          <a:xfrm>
            <a:off x="5073532" y="3782925"/>
            <a:ext cx="1937307" cy="957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29"/>
          <p:cNvSpPr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СЕГ-4КП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49741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832"/>
              </p:ext>
            </p:extLst>
          </p:nvPr>
        </p:nvGraphicFramePr>
        <p:xfrm>
          <a:off x="410197" y="1396999"/>
          <a:ext cx="8345956" cy="46954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72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29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7625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Изготавливается в АО «ИФТП»</a:t>
                      </a:r>
                      <a:endParaRPr lang="ru-RU" sz="1700" dirty="0"/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kern="1200" dirty="0" smtClean="0"/>
                        <a:t>Предлагаемые к разработке</a:t>
                      </a:r>
                      <a:endParaRPr lang="ru-RU" sz="1700" dirty="0"/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62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b="1" u="sng" dirty="0" smtClean="0"/>
                        <a:t>СЕГ-ГЗ-4К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305" marR="63305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u="sng" dirty="0" smtClean="0"/>
                        <a:t>СЕГ-ГЗ-5КП</a:t>
                      </a:r>
                      <a:endParaRPr lang="ru-RU" sz="17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0044">
                <a:tc>
                  <a:txBody>
                    <a:bodyPr/>
                    <a:lstStyle/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/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8468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Недостатки: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Выпуск</a:t>
                      </a:r>
                      <a:r>
                        <a:rPr lang="ru-RU" sz="110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г</a:t>
                      </a:r>
                      <a:r>
                        <a:rPr lang="ru-RU" sz="11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азовой криогенной машины Сплит-Стирлинга с линейным приводом МСМГ-5А-1,7/80 КВО.0729.000-01, на которой основан спектрометр, </a:t>
                      </a:r>
                      <a:r>
                        <a:rPr lang="ru-RU" sz="110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рекращен.</a:t>
                      </a:r>
                    </a:p>
                  </a:txBody>
                  <a:tcPr marL="63305" marR="63305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реимущества: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Поиск альтернативы</a:t>
                      </a:r>
                      <a:r>
                        <a:rPr lang="ru-RU" sz="110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для </a:t>
                      </a:r>
                      <a:r>
                        <a:rPr lang="ru-RU" sz="1100" dirty="0" smtClean="0"/>
                        <a:t>более стабильной и бесперебойной работы по сравнению с имеющейся.</a:t>
                      </a:r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8" name="Рисунок 7" descr="E:\Документы\01 Лаборатория\Презентация\2019-07-25 Крым (начало)\СЕГ-ГЗ-\02\IMG_0116 - копия.gif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6207" y="2343392"/>
            <a:ext cx="3838449" cy="246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9859" name="Picture 3" descr="E:\Документы\09 Договора\2020-01-16 ЦНИИ РТК\ЦНИИ РТК\Компоновка\24.05.2019\0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07580" y="2461353"/>
            <a:ext cx="3663064" cy="2524216"/>
          </a:xfrm>
          <a:prstGeom prst="rect">
            <a:avLst/>
          </a:prstGeom>
          <a:noFill/>
        </p:spPr>
      </p:pic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9" name="Rectangle 29"/>
          <p:cNvSpPr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СЕГ-ГЗ-5КП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752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10968" y="1267758"/>
          <a:ext cx="8556120" cy="454757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78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78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3701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Изготавливается в АО «ИФТП»</a:t>
                      </a:r>
                      <a:endParaRPr lang="ru-RU" sz="1700" dirty="0"/>
                    </a:p>
                  </a:txBody>
                  <a:tcPr marL="84406" marR="84406" marT="42203" marB="422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Предлагается</a:t>
                      </a:r>
                      <a:r>
                        <a:rPr lang="ru-RU" sz="1700" baseline="0" dirty="0" smtClean="0"/>
                        <a:t> к разработке </a:t>
                      </a:r>
                      <a:endParaRPr lang="ru-RU" sz="17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701">
                <a:tc>
                  <a:txBody>
                    <a:bodyPr/>
                    <a:lstStyle/>
                    <a:p>
                      <a:pPr algn="ctr"/>
                      <a:r>
                        <a:rPr lang="ru-RU" sz="1700" b="1" i="0" u="sng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ЕР-1КП </a:t>
                      </a:r>
                      <a:endParaRPr lang="ru-RU" sz="1700" b="1" i="0" u="sng" dirty="0"/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u="sng" dirty="0" smtClean="0"/>
                        <a:t>СЕР-2КП</a:t>
                      </a:r>
                      <a:r>
                        <a:rPr lang="ru-RU" sz="1700" dirty="0" smtClean="0"/>
                        <a:t> </a:t>
                      </a:r>
                      <a:endParaRPr lang="ru-RU" sz="1700" dirty="0"/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53764"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  <a:p>
                      <a:endParaRPr lang="ru-RU" sz="1700" dirty="0" smtClean="0"/>
                    </a:p>
                  </a:txBody>
                  <a:tcPr marL="84406" marR="84406" marT="42203" marB="42203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5916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Недостатки</a:t>
                      </a:r>
                      <a:r>
                        <a:rPr lang="ru-RU" sz="1100" dirty="0" smtClean="0"/>
                        <a:t>: </a:t>
                      </a:r>
                    </a:p>
                    <a:p>
                      <a:pPr algn="just"/>
                      <a:r>
                        <a:rPr lang="ru-RU" sz="1100" dirty="0" smtClean="0"/>
                        <a:t>Узкий</a:t>
                      </a:r>
                      <a:r>
                        <a:rPr lang="ru-RU" sz="1100" baseline="0" dirty="0" smtClean="0"/>
                        <a:t> энергетический диапазон приема ионизирующего излучения</a:t>
                      </a:r>
                      <a:endParaRPr lang="ru-RU" sz="1100" dirty="0" smtClean="0"/>
                    </a:p>
                    <a:p>
                      <a:endParaRPr lang="ru-RU" sz="1700" dirty="0"/>
                    </a:p>
                  </a:txBody>
                  <a:tcPr marL="84406" marR="84406" marT="42203" marB="42203"/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Преимущества</a:t>
                      </a:r>
                      <a:r>
                        <a:rPr lang="ru-RU" sz="1100" dirty="0" smtClean="0"/>
                        <a:t>: </a:t>
                      </a:r>
                    </a:p>
                    <a:p>
                      <a:pPr algn="just"/>
                      <a:r>
                        <a:rPr lang="ru-RU" sz="1100" dirty="0" smtClean="0"/>
                        <a:t>Возможность регистрации</a:t>
                      </a:r>
                      <a:r>
                        <a:rPr lang="ru-RU" sz="1100" baseline="0" dirty="0" smtClean="0"/>
                        <a:t> широкого диапазона энергий ионизирующего излучения</a:t>
                      </a:r>
                      <a:endParaRPr lang="ru-RU" sz="1100" dirty="0" smtClean="0"/>
                    </a:p>
                  </a:txBody>
                  <a:tcPr marL="84406" marR="84406" marT="42203" marB="4220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8" name="Picture 6" descr="Без имени-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lum contrast="12000"/>
          </a:blip>
          <a:srcRect/>
          <a:stretch>
            <a:fillRect/>
          </a:stretch>
        </p:blipFill>
        <p:spPr>
          <a:xfrm>
            <a:off x="602435" y="2122580"/>
            <a:ext cx="1364228" cy="27864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6" descr="Без имени-2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 cstate="print">
            <a:lum contrast="12000"/>
          </a:blip>
          <a:srcRect/>
          <a:stretch>
            <a:fillRect/>
          </a:stretch>
        </p:blipFill>
        <p:spPr>
          <a:xfrm>
            <a:off x="7255520" y="2172163"/>
            <a:ext cx="1364273" cy="278716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 descr="E:\Документы\01 Лаборатория\Презентация\2018-10-11 в Обнинск\ОЧГ\Планар\Новая папка\DSCN5517 - копия.gif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26519" y="2554237"/>
            <a:ext cx="1903449" cy="1769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F:\!!!! ИФТП\Презентация\Сферический ОЧГ\Кристалл 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1760" y="3513406"/>
            <a:ext cx="1823082" cy="1289364"/>
          </a:xfrm>
          <a:prstGeom prst="rect">
            <a:avLst/>
          </a:prstGeom>
          <a:noFill/>
        </p:spPr>
      </p:pic>
      <p:pic>
        <p:nvPicPr>
          <p:cNvPr id="13" name="Рисунок 12" descr="F:\!!!! ИФТП\Презентация\Сферический ОЧГ\Кристалл копия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06414" y="2173140"/>
            <a:ext cx="1802588" cy="1274572"/>
          </a:xfrm>
          <a:prstGeom prst="rect">
            <a:avLst/>
          </a:prstGeom>
          <a:noFill/>
        </p:spPr>
      </p:pic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9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4" name="Rectangle 29"/>
          <p:cNvSpPr>
            <a:spLocks noGrp="1" noChangeArrowheads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sz="2000" dirty="0" smtClean="0">
                <a:solidFill>
                  <a:schemeClr val="tx2"/>
                </a:solidFill>
              </a:rPr>
              <a:t>СЕР-2КП</a:t>
            </a:r>
            <a:endParaRPr lang="ru-RU" altLang="x-none" sz="20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9861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qelL.5qqQEY3Kegs8A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38c19kjc6kr.0Q6WYfow"/>
</p:tagLst>
</file>

<file path=ppt/theme/theme1.xml><?xml version="1.0" encoding="utf-8"?>
<a:theme xmlns:a="http://schemas.openxmlformats.org/drawingml/2006/main" name="росатом_титул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титул" id="{0B6243B7-7DA4-4642-9F96-01D58B27D7D7}" vid="{8633BCF2-E9C1-144F-8AD4-8CFFB7EC5627}"/>
    </a:ext>
  </a:extLst>
</a:theme>
</file>

<file path=ppt/theme/theme10.xml><?xml version="1.0" encoding="utf-8"?>
<a:theme xmlns:a="http://schemas.openxmlformats.org/drawingml/2006/main" name="1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11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13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15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17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5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19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6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21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7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23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8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25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9_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27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росатом_1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1" id="{196FB06C-1B62-1F41-A4A2-B5740C25E72D}" vid="{82473337-5225-BF41-B535-E98843D985FB}"/>
    </a:ext>
  </a:extLst>
</a:theme>
</file>

<file path=ppt/theme/theme4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итул_Росатом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итул_Росатом" id="{A9C5BEC3-DFE1-F440-A835-7DDAD3C35F21}" vid="{9EDC5FE5-EF65-5E44-AD65-4CF963976A44}"/>
    </a:ext>
  </a:extLst>
</a:theme>
</file>

<file path=ppt/theme/theme6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росатом_титул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атом_титул" id="{0B6243B7-7DA4-4642-9F96-01D58B27D7D7}" vid="{8633BCF2-E9C1-144F-8AD4-8CFFB7EC5627}"/>
    </a:ext>
  </a:extLst>
</a:theme>
</file>

<file path=ppt/theme/theme9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undry</Template>
  <TotalTime>9315</TotalTime>
  <Words>743</Words>
  <Application>Microsoft Office PowerPoint</Application>
  <PresentationFormat>Экран (4:3)</PresentationFormat>
  <Paragraphs>310</Paragraphs>
  <Slides>16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50" baseType="lpstr">
      <vt:lpstr>Arial</vt:lpstr>
      <vt:lpstr>Calibri</vt:lpstr>
      <vt:lpstr>DejaVu Sans</vt:lpstr>
      <vt:lpstr>Symbol</vt:lpstr>
      <vt:lpstr>Times New Roman</vt:lpstr>
      <vt:lpstr>Wingdings</vt:lpstr>
      <vt:lpstr>росатом_титул</vt:lpstr>
      <vt:lpstr>1_b-default</vt:lpstr>
      <vt:lpstr>росатом_1</vt:lpstr>
      <vt:lpstr>2_b-default</vt:lpstr>
      <vt:lpstr>титул_Росатом</vt:lpstr>
      <vt:lpstr>b-default</vt:lpstr>
      <vt:lpstr>3_b-default</vt:lpstr>
      <vt:lpstr>1_росатом_титул</vt:lpstr>
      <vt:lpstr>4_b-default</vt:lpstr>
      <vt:lpstr>1_росатом_1</vt:lpstr>
      <vt:lpstr>5_b-default</vt:lpstr>
      <vt:lpstr>2_росатом_1</vt:lpstr>
      <vt:lpstr>6_b-default</vt:lpstr>
      <vt:lpstr>3_росатом_1</vt:lpstr>
      <vt:lpstr>7_b-default</vt:lpstr>
      <vt:lpstr>4_росатом_1</vt:lpstr>
      <vt:lpstr>8_b-default</vt:lpstr>
      <vt:lpstr>5_росатом_1</vt:lpstr>
      <vt:lpstr>9_b-default</vt:lpstr>
      <vt:lpstr>6_росатом_1</vt:lpstr>
      <vt:lpstr>10_b-default</vt:lpstr>
      <vt:lpstr>7_росатом_1</vt:lpstr>
      <vt:lpstr>11_b-default</vt:lpstr>
      <vt:lpstr>8_росатом_1</vt:lpstr>
      <vt:lpstr>12_b-default</vt:lpstr>
      <vt:lpstr>9_росатом_1</vt:lpstr>
      <vt:lpstr>13_b-default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цепция инвестиционного мероприятия</vt:lpstr>
      <vt:lpstr>СЕГ-4КП</vt:lpstr>
      <vt:lpstr>СЕГ-ГЗ-5КП</vt:lpstr>
      <vt:lpstr>СЕР-2КП</vt:lpstr>
      <vt:lpstr>СЕГ-5КП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ИФТП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лотников А.В.</dc:creator>
  <cp:lastModifiedBy>Лихачев Геннадий Михайлович</cp:lastModifiedBy>
  <cp:revision>851</cp:revision>
  <dcterms:created xsi:type="dcterms:W3CDTF">2007-05-14T06:31:45Z</dcterms:created>
  <dcterms:modified xsi:type="dcterms:W3CDTF">2022-10-19T09:30:49Z</dcterms:modified>
</cp:coreProperties>
</file>